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diagrams/data1.xml" ContentType="application/vnd.openxmlformats-officedocument.drawingml.diagramData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Layouts/slideLayout16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notesSlides/notesSlide1.xml" ContentType="application/vnd.openxmlformats-officedocument.presentationml.notes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4.xml" ContentType="application/vnd.openxmlformats-officedocument.theme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authors.xml" ContentType="application/vnd.ms-powerpoint.authors+xml"/>
  <Override PartName="/ppt/theme/theme3.xml" ContentType="application/vnd.openxmlformats-officedocument.theme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docProps/core.xml" ContentType="application/vnd.openxmlformats-package.core-properties+xml"/>
  <Override PartName="/ppt/tags/tag28.xml" ContentType="application/vnd.openxmlformats-officedocument.presentationml.tags+xml"/>
  <Override PartName="/ppt/tags/tag30.xml" ContentType="application/vnd.openxmlformats-officedocument.presentationml.tags+xml"/>
  <Override PartName="/docProps/app.xml" ContentType="application/vnd.openxmlformats-officedocument.extended-properties+xml"/>
  <Override PartName="/ppt/tags/tag45.xml" ContentType="application/vnd.openxmlformats-officedocument.presentationml.tags+xml"/>
  <Override PartName="/ppt/tags/tag41.xml" ContentType="application/vnd.openxmlformats-officedocument.presentationml.tags+xml"/>
  <Override PartName="/ppt/tags/tag31.xml" ContentType="application/vnd.openxmlformats-officedocument.presentationml.tags+xml"/>
  <Override PartName="/ppt/tags/tag46.xml" ContentType="application/vnd.openxmlformats-officedocument.presentationml.tags+xml"/>
  <Override PartName="/ppt/tags/tag29.xml" ContentType="application/vnd.openxmlformats-officedocument.presentationml.tags+xml"/>
  <Override PartName="/ppt/tags/tag20.xml" ContentType="application/vnd.openxmlformats-officedocument.presentationml.tags+xml"/>
  <Override PartName="/ppt/tags/tag47.xml" ContentType="application/vnd.openxmlformats-officedocument.presentationml.tags+xml"/>
  <Override PartName="/ppt/tags/tag42.xml" ContentType="application/vnd.openxmlformats-officedocument.presentationml.tags+xml"/>
  <Override PartName="/ppt/tags/tag39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8.xml" ContentType="application/vnd.openxmlformats-officedocument.presentationml.tags+xml"/>
  <Override PartName="/ppt/tags/tag43.xml" ContentType="application/vnd.openxmlformats-officedocument.presentationml.tags+xml"/>
  <Override PartName="/ppt/tags/tag35.xml" ContentType="application/vnd.openxmlformats-officedocument.presentationml.tags+xml"/>
  <Override PartName="/ppt/tags/tag32.xml" ContentType="application/vnd.openxmlformats-officedocument.presentationml.tags+xml"/>
  <Override PartName="/ppt/tags/tag36.xml" ContentType="application/vnd.openxmlformats-officedocument.presentationml.tags+xml"/>
  <Override PartName="/ppt/tags/tag40.xml" ContentType="application/vnd.openxmlformats-officedocument.presentationml.tags+xml"/>
  <Override PartName="/ppt/tags/tag44.xml" ContentType="application/vnd.openxmlformats-officedocument.presentationml.tags+xml"/>
  <Override PartName="/ppt/tags/tag37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712" r:id="rId2"/>
  </p:sldMasterIdLst>
  <p:notesMasterIdLst>
    <p:notesMasterId r:id="rId15"/>
  </p:notesMasterIdLst>
  <p:handoutMasterIdLst>
    <p:handoutMasterId r:id="rId16"/>
  </p:handoutMasterIdLst>
  <p:sldIdLst>
    <p:sldId id="965" r:id="rId3"/>
    <p:sldId id="995" r:id="rId4"/>
    <p:sldId id="996" r:id="rId5"/>
    <p:sldId id="990" r:id="rId6"/>
    <p:sldId id="998" r:id="rId7"/>
    <p:sldId id="992" r:id="rId8"/>
    <p:sldId id="1000" r:id="rId9"/>
    <p:sldId id="1001" r:id="rId10"/>
    <p:sldId id="1004" r:id="rId11"/>
    <p:sldId id="1002" r:id="rId12"/>
    <p:sldId id="1003" r:id="rId13"/>
    <p:sldId id="983" r:id="rId14"/>
  </p:sldIdLst>
  <p:sldSz cx="12192000" cy="6858000"/>
  <p:notesSz cx="6858000" cy="9144000"/>
  <p:custDataLst>
    <p:tags r:id="rId17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D7C6A52-3AF1-BDBD-F8BD-1B2BF08CCD36}" name="Kemppainen Kati" initials="KK" userId="S::kati.kemppainen@suomenlahetysseura.fi::7bd48efe-890d-49bd-a950-3855d1cae2f1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32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4" d="100"/>
          <a:sy n="64" d="100"/>
        </p:scale>
        <p:origin x="724" y="2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gs" Target="tags/tag1.xml"/><Relationship Id="rId25" Type="http://schemas.openxmlformats.org/officeDocument/2006/relationships/customXml" Target="../customXml/item3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customXml" Target="../customXml/item2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23" Type="http://schemas.openxmlformats.org/officeDocument/2006/relationships/customXml" Target="../customXml/item1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microsoft.com/office/2018/10/relationships/authors" Target="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93A95AA-94EB-4FE6-8D2F-E46F8D017F93}" type="doc">
      <dgm:prSet loTypeId="urn:microsoft.com/office/officeart/2005/8/layout/pyramid4" loCatId="relationship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fi-FI"/>
        </a:p>
      </dgm:t>
    </dgm:pt>
    <dgm:pt modelId="{8C8636E1-F0A3-40B0-8967-E1B605F97349}">
      <dgm:prSet phldrT="[Teksti]" custT="1"/>
      <dgm:spPr/>
      <dgm:t>
        <a:bodyPr/>
        <a:lstStyle/>
        <a:p>
          <a:pPr rtl="0"/>
          <a:r>
            <a:rPr lang="fi-FI" sz="1200" b="0" i="0">
              <a:latin typeface="Arial"/>
            </a:rPr>
            <a:t>Keiden</a:t>
          </a:r>
          <a:r>
            <a:rPr lang="fi-FI" sz="1200">
              <a:latin typeface="Arial"/>
            </a:rPr>
            <a:t> parissa?</a:t>
          </a:r>
          <a:endParaRPr lang="fi-FI" sz="1200" b="1"/>
        </a:p>
        <a:p>
          <a:pPr rtl="0"/>
          <a:r>
            <a:rPr lang="en-US" sz="1200" b="1" err="1">
              <a:latin typeface="Arial"/>
            </a:rPr>
            <a:t>Hauraassa</a:t>
          </a:r>
          <a:r>
            <a:rPr lang="en-US" sz="1200" b="1">
              <a:latin typeface="Arial"/>
            </a:rPr>
            <a:t> ja </a:t>
          </a:r>
          <a:r>
            <a:rPr lang="en-US" sz="1200" b="1" err="1">
              <a:latin typeface="Arial"/>
            </a:rPr>
            <a:t>haavoittuvassa</a:t>
          </a:r>
          <a:r>
            <a:rPr lang="en-US" sz="1200" b="1">
              <a:latin typeface="Arial"/>
            </a:rPr>
            <a:t> </a:t>
          </a:r>
          <a:r>
            <a:rPr lang="en-US" sz="1200" b="1" err="1">
              <a:latin typeface="Arial"/>
            </a:rPr>
            <a:t>asemassa</a:t>
          </a:r>
          <a:r>
            <a:rPr lang="en-US" sz="1200" b="1">
              <a:latin typeface="Arial"/>
            </a:rPr>
            <a:t> </a:t>
          </a:r>
          <a:r>
            <a:rPr lang="en-US" sz="1200" b="1" err="1">
              <a:latin typeface="Arial"/>
            </a:rPr>
            <a:t>olevat</a:t>
          </a:r>
          <a:r>
            <a:rPr lang="en-US" sz="1200" b="1">
              <a:latin typeface="Arial"/>
            </a:rPr>
            <a:t> </a:t>
          </a:r>
          <a:r>
            <a:rPr lang="en-US" sz="1200" b="1" err="1">
              <a:latin typeface="Arial"/>
            </a:rPr>
            <a:t>ihmiset</a:t>
          </a:r>
          <a:endParaRPr lang="fi-FI" sz="1200" b="1" err="1"/>
        </a:p>
      </dgm:t>
    </dgm:pt>
    <dgm:pt modelId="{C7395079-E2DE-4663-A47D-CED8F6AD4531}" type="parTrans" cxnId="{F02A50FD-ECC7-4423-908F-3AF3C9FB5463}">
      <dgm:prSet/>
      <dgm:spPr/>
      <dgm:t>
        <a:bodyPr/>
        <a:lstStyle/>
        <a:p>
          <a:endParaRPr lang="fi-FI"/>
        </a:p>
      </dgm:t>
    </dgm:pt>
    <dgm:pt modelId="{B576927B-7AE0-42FF-A121-CBF5EE032FF0}" type="sibTrans" cxnId="{F02A50FD-ECC7-4423-908F-3AF3C9FB5463}">
      <dgm:prSet/>
      <dgm:spPr/>
      <dgm:t>
        <a:bodyPr/>
        <a:lstStyle/>
        <a:p>
          <a:endParaRPr lang="fi-FI"/>
        </a:p>
      </dgm:t>
    </dgm:pt>
    <dgm:pt modelId="{7434491D-1C60-4E07-9C18-800E114E0848}">
      <dgm:prSet phldrT="[Teksti]" custT="1"/>
      <dgm:spPr/>
      <dgm:t>
        <a:bodyPr/>
        <a:lstStyle/>
        <a:p>
          <a:pPr rtl="0"/>
          <a:br>
            <a:rPr lang="en-US" sz="1400" b="1" i="0">
              <a:latin typeface="Arial"/>
            </a:rPr>
          </a:br>
          <a:r>
            <a:rPr lang="en-US" sz="1400" b="1" i="0" err="1">
              <a:latin typeface="Arial"/>
            </a:rPr>
            <a:t>Vahvistuvat</a:t>
          </a:r>
          <a:r>
            <a:rPr lang="en-US" sz="1400" b="1" i="0">
              <a:latin typeface="Arial"/>
            </a:rPr>
            <a:t> </a:t>
          </a:r>
          <a:r>
            <a:rPr lang="en-US" sz="1400" b="1" i="0" err="1">
              <a:latin typeface="Arial"/>
            </a:rPr>
            <a:t>kirkot</a:t>
          </a:r>
          <a:r>
            <a:rPr lang="en-US" sz="1400" b="1">
              <a:latin typeface="Arial"/>
              <a:cs typeface="Arial"/>
            </a:rPr>
            <a:t> ja </a:t>
          </a:r>
          <a:r>
            <a:rPr lang="en-US" sz="1400" b="1" err="1">
              <a:latin typeface="Arial"/>
              <a:cs typeface="Arial"/>
            </a:rPr>
            <a:t>kestävät</a:t>
          </a:r>
          <a:r>
            <a:rPr lang="en-US" sz="1400" b="1">
              <a:latin typeface="Arial"/>
              <a:cs typeface="Arial"/>
            </a:rPr>
            <a:t>, </a:t>
          </a:r>
          <a:r>
            <a:rPr lang="en-US" sz="1400" b="1" err="1">
              <a:latin typeface="Arial"/>
              <a:cs typeface="Arial"/>
            </a:rPr>
            <a:t>hyvinvoivat</a:t>
          </a:r>
          <a:r>
            <a:rPr lang="en-US" sz="1400" b="1">
              <a:latin typeface="Arial"/>
              <a:cs typeface="Arial"/>
            </a:rPr>
            <a:t> </a:t>
          </a:r>
          <a:r>
            <a:rPr lang="en-US" sz="1400" b="1" err="1">
              <a:latin typeface="Arial"/>
              <a:cs typeface="Arial"/>
            </a:rPr>
            <a:t>yhteisöt</a:t>
          </a:r>
          <a:endParaRPr lang="fi-FI" sz="1400" b="1">
            <a:latin typeface="Montserrat" panose="00000500000000000000" pitchFamily="2" charset="0"/>
          </a:endParaRPr>
        </a:p>
      </dgm:t>
    </dgm:pt>
    <dgm:pt modelId="{FBFCAD83-24E1-489B-B324-60ABCB42BBE8}" type="parTrans" cxnId="{840137E9-0A91-4168-91FB-60D6013934AC}">
      <dgm:prSet/>
      <dgm:spPr/>
      <dgm:t>
        <a:bodyPr/>
        <a:lstStyle/>
        <a:p>
          <a:endParaRPr lang="fi-FI"/>
        </a:p>
      </dgm:t>
    </dgm:pt>
    <dgm:pt modelId="{AE8DE36A-DF3A-49C4-B20B-F7F0E3450C0F}" type="sibTrans" cxnId="{840137E9-0A91-4168-91FB-60D6013934AC}">
      <dgm:prSet/>
      <dgm:spPr/>
      <dgm:t>
        <a:bodyPr/>
        <a:lstStyle/>
        <a:p>
          <a:endParaRPr lang="fi-FI"/>
        </a:p>
      </dgm:t>
    </dgm:pt>
    <dgm:pt modelId="{C8A67BDC-36A1-4062-AC7E-158B4C5CD15C}">
      <dgm:prSet phldrT="[Teksti]" custT="1"/>
      <dgm:spPr/>
      <dgm:t>
        <a:bodyPr/>
        <a:lstStyle/>
        <a:p>
          <a:pPr rtl="0"/>
          <a:r>
            <a:rPr lang="fi-FI" sz="1200" b="0">
              <a:latin typeface="Montserrat"/>
            </a:rPr>
            <a:t>Miten?</a:t>
          </a:r>
          <a:br>
            <a:rPr lang="fi-FI" sz="1200" b="1">
              <a:latin typeface="Montserrat"/>
            </a:rPr>
          </a:br>
          <a:r>
            <a:rPr lang="en-US" sz="1200" b="1" i="0" err="1">
              <a:latin typeface="Arial"/>
            </a:rPr>
            <a:t>Inklusiivisuus</a:t>
          </a:r>
          <a:r>
            <a:rPr lang="en-US" sz="1200" b="1" i="0"/>
            <a:t>, </a:t>
          </a:r>
          <a:r>
            <a:rPr lang="en-US" sz="1200" b="1" i="0" err="1">
              <a:latin typeface="Arial"/>
            </a:rPr>
            <a:t>ihmisoikeusperustaisuus</a:t>
          </a:r>
          <a:r>
            <a:rPr lang="en-US" sz="1200" b="1">
              <a:latin typeface="Arial"/>
              <a:cs typeface="Arial"/>
            </a:rPr>
            <a:t>, paikallisjohtoisuus</a:t>
          </a:r>
          <a:endParaRPr lang="fi-FI" sz="1200" b="1">
            <a:latin typeface="Montserrat" panose="00000500000000000000" pitchFamily="2" charset="0"/>
          </a:endParaRPr>
        </a:p>
        <a:p>
          <a:endParaRPr lang="fi-FI" sz="700"/>
        </a:p>
      </dgm:t>
    </dgm:pt>
    <dgm:pt modelId="{793509F5-D0A7-41C9-A3A4-6C5A873087C0}" type="parTrans" cxnId="{2DFCFD85-4B33-4F4F-B37D-7E782170F8D2}">
      <dgm:prSet/>
      <dgm:spPr/>
      <dgm:t>
        <a:bodyPr/>
        <a:lstStyle/>
        <a:p>
          <a:endParaRPr lang="fi-FI"/>
        </a:p>
      </dgm:t>
    </dgm:pt>
    <dgm:pt modelId="{97D9CEA5-6372-49DD-9A1D-59D89C2E8C45}" type="sibTrans" cxnId="{2DFCFD85-4B33-4F4F-B37D-7E782170F8D2}">
      <dgm:prSet/>
      <dgm:spPr/>
      <dgm:t>
        <a:bodyPr/>
        <a:lstStyle/>
        <a:p>
          <a:endParaRPr lang="fi-FI"/>
        </a:p>
      </dgm:t>
    </dgm:pt>
    <dgm:pt modelId="{67A91B5D-7402-4980-BBD0-C0E7434CC56E}">
      <dgm:prSet phldrT="[Teksti]" custT="1"/>
      <dgm:spPr/>
      <dgm:t>
        <a:bodyPr/>
        <a:lstStyle/>
        <a:p>
          <a:pPr rtl="0"/>
          <a:r>
            <a:rPr lang="fi-FI" sz="1200" b="0" i="0">
              <a:latin typeface="Arial"/>
              <a:cs typeface="Arial"/>
            </a:rPr>
            <a:t>Kenen kanssa? </a:t>
          </a:r>
          <a:r>
            <a:rPr lang="fi-FI" sz="1200" b="1" i="0">
              <a:latin typeface="Montserrat"/>
            </a:rPr>
            <a:t>Kirkot</a:t>
          </a:r>
          <a:r>
            <a:rPr lang="fi-FI" sz="1200" b="1">
              <a:latin typeface="Montserrat"/>
            </a:rPr>
            <a:t>, seurakunnat ja kansalais-järjestöt</a:t>
          </a:r>
        </a:p>
      </dgm:t>
    </dgm:pt>
    <dgm:pt modelId="{C5F6E974-4D54-451A-9921-244076630E29}" type="sibTrans" cxnId="{3990E219-BF0D-4868-8510-8203C53F7661}">
      <dgm:prSet/>
      <dgm:spPr/>
      <dgm:t>
        <a:bodyPr/>
        <a:lstStyle/>
        <a:p>
          <a:endParaRPr lang="fi-FI"/>
        </a:p>
      </dgm:t>
    </dgm:pt>
    <dgm:pt modelId="{4AAA2A7E-8D0D-4C09-B720-3D4A6121BC9B}" type="parTrans" cxnId="{3990E219-BF0D-4868-8510-8203C53F7661}">
      <dgm:prSet/>
      <dgm:spPr/>
      <dgm:t>
        <a:bodyPr/>
        <a:lstStyle/>
        <a:p>
          <a:endParaRPr lang="fi-FI"/>
        </a:p>
      </dgm:t>
    </dgm:pt>
    <dgm:pt modelId="{33951B1C-5396-46A1-9A04-60A1A276FB28}" type="pres">
      <dgm:prSet presAssocID="{E93A95AA-94EB-4FE6-8D2F-E46F8D017F93}" presName="compositeShape" presStyleCnt="0">
        <dgm:presLayoutVars>
          <dgm:chMax val="9"/>
          <dgm:dir/>
          <dgm:resizeHandles val="exact"/>
        </dgm:presLayoutVars>
      </dgm:prSet>
      <dgm:spPr/>
    </dgm:pt>
    <dgm:pt modelId="{BAFB4554-9428-4B41-9DE6-DDF41CD360D4}" type="pres">
      <dgm:prSet presAssocID="{E93A95AA-94EB-4FE6-8D2F-E46F8D017F93}" presName="triangle1" presStyleLbl="node1" presStyleIdx="0" presStyleCnt="4" custLinFactNeighborX="8694">
        <dgm:presLayoutVars>
          <dgm:bulletEnabled val="1"/>
        </dgm:presLayoutVars>
      </dgm:prSet>
      <dgm:spPr/>
    </dgm:pt>
    <dgm:pt modelId="{A823740D-7A36-437D-B234-B48033CD0AF9}" type="pres">
      <dgm:prSet presAssocID="{E93A95AA-94EB-4FE6-8D2F-E46F8D017F93}" presName="triangle2" presStyleLbl="node1" presStyleIdx="1" presStyleCnt="4" custLinFactNeighborX="8694">
        <dgm:presLayoutVars>
          <dgm:bulletEnabled val="1"/>
        </dgm:presLayoutVars>
      </dgm:prSet>
      <dgm:spPr/>
    </dgm:pt>
    <dgm:pt modelId="{4D99DAD7-FDE9-4D9A-852E-E8C62150B527}" type="pres">
      <dgm:prSet presAssocID="{E93A95AA-94EB-4FE6-8D2F-E46F8D017F93}" presName="triangle3" presStyleLbl="node1" presStyleIdx="2" presStyleCnt="4" custScaleX="103406" custScaleY="100000" custLinFactNeighborX="8694">
        <dgm:presLayoutVars>
          <dgm:bulletEnabled val="1"/>
        </dgm:presLayoutVars>
      </dgm:prSet>
      <dgm:spPr/>
    </dgm:pt>
    <dgm:pt modelId="{4A4AD6CB-FBA2-4DDE-A647-1A70E9EFD98F}" type="pres">
      <dgm:prSet presAssocID="{E93A95AA-94EB-4FE6-8D2F-E46F8D017F93}" presName="triangle4" presStyleLbl="node1" presStyleIdx="3" presStyleCnt="4" custScaleX="102488" custLinFactNeighborX="8694">
        <dgm:presLayoutVars>
          <dgm:bulletEnabled val="1"/>
        </dgm:presLayoutVars>
      </dgm:prSet>
      <dgm:spPr/>
    </dgm:pt>
  </dgm:ptLst>
  <dgm:cxnLst>
    <dgm:cxn modelId="{3990E219-BF0D-4868-8510-8203C53F7661}" srcId="{E93A95AA-94EB-4FE6-8D2F-E46F8D017F93}" destId="{67A91B5D-7402-4980-BBD0-C0E7434CC56E}" srcOrd="0" destOrd="0" parTransId="{4AAA2A7E-8D0D-4C09-B720-3D4A6121BC9B}" sibTransId="{C5F6E974-4D54-451A-9921-244076630E29}"/>
    <dgm:cxn modelId="{113A4F1C-626E-405B-9CB1-2031DDD0ADA9}" type="presOf" srcId="{E93A95AA-94EB-4FE6-8D2F-E46F8D017F93}" destId="{33951B1C-5396-46A1-9A04-60A1A276FB28}" srcOrd="0" destOrd="0" presId="urn:microsoft.com/office/officeart/2005/8/layout/pyramid4"/>
    <dgm:cxn modelId="{43AFDA37-E4DA-4FA8-9F4A-E7EAF87EA6CB}" type="presOf" srcId="{7434491D-1C60-4E07-9C18-800E114E0848}" destId="{4D99DAD7-FDE9-4D9A-852E-E8C62150B527}" srcOrd="0" destOrd="0" presId="urn:microsoft.com/office/officeart/2005/8/layout/pyramid4"/>
    <dgm:cxn modelId="{2DFCFD85-4B33-4F4F-B37D-7E782170F8D2}" srcId="{E93A95AA-94EB-4FE6-8D2F-E46F8D017F93}" destId="{C8A67BDC-36A1-4062-AC7E-158B4C5CD15C}" srcOrd="3" destOrd="0" parTransId="{793509F5-D0A7-41C9-A3A4-6C5A873087C0}" sibTransId="{97D9CEA5-6372-49DD-9A1D-59D89C2E8C45}"/>
    <dgm:cxn modelId="{C2CD9EB2-F503-4A63-9B32-E3A8DD34110D}" type="presOf" srcId="{C8A67BDC-36A1-4062-AC7E-158B4C5CD15C}" destId="{4A4AD6CB-FBA2-4DDE-A647-1A70E9EFD98F}" srcOrd="0" destOrd="0" presId="urn:microsoft.com/office/officeart/2005/8/layout/pyramid4"/>
    <dgm:cxn modelId="{02BB90BB-019D-4D51-AFBF-18A58FE704C4}" type="presOf" srcId="{8C8636E1-F0A3-40B0-8967-E1B605F97349}" destId="{A823740D-7A36-437D-B234-B48033CD0AF9}" srcOrd="0" destOrd="0" presId="urn:microsoft.com/office/officeart/2005/8/layout/pyramid4"/>
    <dgm:cxn modelId="{7F1AA2C8-2F8C-4D96-83AF-D932AB30C12B}" type="presOf" srcId="{67A91B5D-7402-4980-BBD0-C0E7434CC56E}" destId="{BAFB4554-9428-4B41-9DE6-DDF41CD360D4}" srcOrd="0" destOrd="0" presId="urn:microsoft.com/office/officeart/2005/8/layout/pyramid4"/>
    <dgm:cxn modelId="{840137E9-0A91-4168-91FB-60D6013934AC}" srcId="{E93A95AA-94EB-4FE6-8D2F-E46F8D017F93}" destId="{7434491D-1C60-4E07-9C18-800E114E0848}" srcOrd="2" destOrd="0" parTransId="{FBFCAD83-24E1-489B-B324-60ABCB42BBE8}" sibTransId="{AE8DE36A-DF3A-49C4-B20B-F7F0E3450C0F}"/>
    <dgm:cxn modelId="{F02A50FD-ECC7-4423-908F-3AF3C9FB5463}" srcId="{E93A95AA-94EB-4FE6-8D2F-E46F8D017F93}" destId="{8C8636E1-F0A3-40B0-8967-E1B605F97349}" srcOrd="1" destOrd="0" parTransId="{C7395079-E2DE-4663-A47D-CED8F6AD4531}" sibTransId="{B576927B-7AE0-42FF-A121-CBF5EE032FF0}"/>
    <dgm:cxn modelId="{E31F9F90-45E2-4BE2-816E-34CFCA46B03D}" type="presParOf" srcId="{33951B1C-5396-46A1-9A04-60A1A276FB28}" destId="{BAFB4554-9428-4B41-9DE6-DDF41CD360D4}" srcOrd="0" destOrd="0" presId="urn:microsoft.com/office/officeart/2005/8/layout/pyramid4"/>
    <dgm:cxn modelId="{65F2B668-AD88-450D-9A7C-F60BA2EAF35B}" type="presParOf" srcId="{33951B1C-5396-46A1-9A04-60A1A276FB28}" destId="{A823740D-7A36-437D-B234-B48033CD0AF9}" srcOrd="1" destOrd="0" presId="urn:microsoft.com/office/officeart/2005/8/layout/pyramid4"/>
    <dgm:cxn modelId="{2748DAF9-93C8-43D2-A813-E49AFCE11CC8}" type="presParOf" srcId="{33951B1C-5396-46A1-9A04-60A1A276FB28}" destId="{4D99DAD7-FDE9-4D9A-852E-E8C62150B527}" srcOrd="2" destOrd="0" presId="urn:microsoft.com/office/officeart/2005/8/layout/pyramid4"/>
    <dgm:cxn modelId="{D16CD336-4E5E-41B0-855B-48ECCCB19235}" type="presParOf" srcId="{33951B1C-5396-46A1-9A04-60A1A276FB28}" destId="{4A4AD6CB-FBA2-4DDE-A647-1A70E9EFD98F}" srcOrd="3" destOrd="0" presId="urn:microsoft.com/office/officeart/2005/8/layout/pyramid4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AFB4554-9428-4B41-9DE6-DDF41CD360D4}">
      <dsp:nvSpPr>
        <dsp:cNvPr id="0" name=""/>
        <dsp:cNvSpPr/>
      </dsp:nvSpPr>
      <dsp:spPr>
        <a:xfrm>
          <a:off x="3513241" y="0"/>
          <a:ext cx="2369152" cy="2369152"/>
        </a:xfrm>
        <a:prstGeom prst="triangl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200" b="0" i="0" kern="1200">
              <a:latin typeface="Arial"/>
              <a:cs typeface="Arial"/>
            </a:rPr>
            <a:t>Kenen kanssa? </a:t>
          </a:r>
          <a:r>
            <a:rPr lang="fi-FI" sz="1200" b="1" i="0" kern="1200">
              <a:latin typeface="Montserrat"/>
            </a:rPr>
            <a:t>Kirkot</a:t>
          </a:r>
          <a:r>
            <a:rPr lang="fi-FI" sz="1200" b="1" kern="1200">
              <a:latin typeface="Montserrat"/>
            </a:rPr>
            <a:t>, seurakunnat ja kansalais-järjestöt</a:t>
          </a:r>
        </a:p>
      </dsp:txBody>
      <dsp:txXfrm>
        <a:off x="4105529" y="1184576"/>
        <a:ext cx="1184576" cy="1184576"/>
      </dsp:txXfrm>
    </dsp:sp>
    <dsp:sp modelId="{A823740D-7A36-437D-B234-B48033CD0AF9}">
      <dsp:nvSpPr>
        <dsp:cNvPr id="0" name=""/>
        <dsp:cNvSpPr/>
      </dsp:nvSpPr>
      <dsp:spPr>
        <a:xfrm>
          <a:off x="2328665" y="2369152"/>
          <a:ext cx="2369152" cy="2369152"/>
        </a:xfrm>
        <a:prstGeom prst="triangl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200" b="0" i="0" kern="1200">
              <a:latin typeface="Arial"/>
            </a:rPr>
            <a:t>Keiden</a:t>
          </a:r>
          <a:r>
            <a:rPr lang="fi-FI" sz="1200" kern="1200">
              <a:latin typeface="Arial"/>
            </a:rPr>
            <a:t> parissa?</a:t>
          </a:r>
          <a:endParaRPr lang="fi-FI" sz="1200" b="1" kern="1200"/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err="1">
              <a:latin typeface="Arial"/>
            </a:rPr>
            <a:t>Hauraassa</a:t>
          </a:r>
          <a:r>
            <a:rPr lang="en-US" sz="1200" b="1" kern="1200">
              <a:latin typeface="Arial"/>
            </a:rPr>
            <a:t> ja </a:t>
          </a:r>
          <a:r>
            <a:rPr lang="en-US" sz="1200" b="1" kern="1200" err="1">
              <a:latin typeface="Arial"/>
            </a:rPr>
            <a:t>haavoittuvassa</a:t>
          </a:r>
          <a:r>
            <a:rPr lang="en-US" sz="1200" b="1" kern="1200">
              <a:latin typeface="Arial"/>
            </a:rPr>
            <a:t> </a:t>
          </a:r>
          <a:r>
            <a:rPr lang="en-US" sz="1200" b="1" kern="1200" err="1">
              <a:latin typeface="Arial"/>
            </a:rPr>
            <a:t>asemassa</a:t>
          </a:r>
          <a:r>
            <a:rPr lang="en-US" sz="1200" b="1" kern="1200">
              <a:latin typeface="Arial"/>
            </a:rPr>
            <a:t> </a:t>
          </a:r>
          <a:r>
            <a:rPr lang="en-US" sz="1200" b="1" kern="1200" err="1">
              <a:latin typeface="Arial"/>
            </a:rPr>
            <a:t>olevat</a:t>
          </a:r>
          <a:r>
            <a:rPr lang="en-US" sz="1200" b="1" kern="1200">
              <a:latin typeface="Arial"/>
            </a:rPr>
            <a:t> </a:t>
          </a:r>
          <a:r>
            <a:rPr lang="en-US" sz="1200" b="1" kern="1200" err="1">
              <a:latin typeface="Arial"/>
            </a:rPr>
            <a:t>ihmiset</a:t>
          </a:r>
          <a:endParaRPr lang="fi-FI" sz="1200" b="1" kern="1200" err="1"/>
        </a:p>
      </dsp:txBody>
      <dsp:txXfrm>
        <a:off x="2920953" y="3553728"/>
        <a:ext cx="1184576" cy="1184576"/>
      </dsp:txXfrm>
    </dsp:sp>
    <dsp:sp modelId="{4D99DAD7-FDE9-4D9A-852E-E8C62150B527}">
      <dsp:nvSpPr>
        <dsp:cNvPr id="0" name=""/>
        <dsp:cNvSpPr/>
      </dsp:nvSpPr>
      <dsp:spPr>
        <a:xfrm rot="10800000">
          <a:off x="3472895" y="2369152"/>
          <a:ext cx="2449845" cy="2369152"/>
        </a:xfrm>
        <a:prstGeom prst="triangl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br>
            <a:rPr lang="en-US" sz="1400" b="1" i="0" kern="1200">
              <a:latin typeface="Arial"/>
            </a:rPr>
          </a:br>
          <a:r>
            <a:rPr lang="en-US" sz="1400" b="1" i="0" kern="1200" err="1">
              <a:latin typeface="Arial"/>
            </a:rPr>
            <a:t>Vahvistuvat</a:t>
          </a:r>
          <a:r>
            <a:rPr lang="en-US" sz="1400" b="1" i="0" kern="1200">
              <a:latin typeface="Arial"/>
            </a:rPr>
            <a:t> </a:t>
          </a:r>
          <a:r>
            <a:rPr lang="en-US" sz="1400" b="1" i="0" kern="1200" err="1">
              <a:latin typeface="Arial"/>
            </a:rPr>
            <a:t>kirkot</a:t>
          </a:r>
          <a:r>
            <a:rPr lang="en-US" sz="1400" b="1" kern="1200">
              <a:latin typeface="Arial"/>
              <a:cs typeface="Arial"/>
            </a:rPr>
            <a:t> ja </a:t>
          </a:r>
          <a:r>
            <a:rPr lang="en-US" sz="1400" b="1" kern="1200" err="1">
              <a:latin typeface="Arial"/>
              <a:cs typeface="Arial"/>
            </a:rPr>
            <a:t>kestävät</a:t>
          </a:r>
          <a:r>
            <a:rPr lang="en-US" sz="1400" b="1" kern="1200">
              <a:latin typeface="Arial"/>
              <a:cs typeface="Arial"/>
            </a:rPr>
            <a:t>, </a:t>
          </a:r>
          <a:r>
            <a:rPr lang="en-US" sz="1400" b="1" kern="1200" err="1">
              <a:latin typeface="Arial"/>
              <a:cs typeface="Arial"/>
            </a:rPr>
            <a:t>hyvinvoivat</a:t>
          </a:r>
          <a:r>
            <a:rPr lang="en-US" sz="1400" b="1" kern="1200">
              <a:latin typeface="Arial"/>
              <a:cs typeface="Arial"/>
            </a:rPr>
            <a:t> </a:t>
          </a:r>
          <a:r>
            <a:rPr lang="en-US" sz="1400" b="1" kern="1200" err="1">
              <a:latin typeface="Arial"/>
              <a:cs typeface="Arial"/>
            </a:rPr>
            <a:t>yhteisöt</a:t>
          </a:r>
          <a:endParaRPr lang="fi-FI" sz="1400" b="1" kern="1200">
            <a:latin typeface="Montserrat" panose="00000500000000000000" pitchFamily="2" charset="0"/>
          </a:endParaRPr>
        </a:p>
      </dsp:txBody>
      <dsp:txXfrm rot="10800000">
        <a:off x="4085356" y="2369152"/>
        <a:ext cx="1224923" cy="1184576"/>
      </dsp:txXfrm>
    </dsp:sp>
    <dsp:sp modelId="{4A4AD6CB-FBA2-4DDE-A647-1A70E9EFD98F}">
      <dsp:nvSpPr>
        <dsp:cNvPr id="0" name=""/>
        <dsp:cNvSpPr/>
      </dsp:nvSpPr>
      <dsp:spPr>
        <a:xfrm>
          <a:off x="4668345" y="2369152"/>
          <a:ext cx="2428096" cy="2369152"/>
        </a:xfrm>
        <a:prstGeom prst="triangl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200" b="0" kern="1200">
              <a:latin typeface="Montserrat"/>
            </a:rPr>
            <a:t>Miten?</a:t>
          </a:r>
          <a:br>
            <a:rPr lang="fi-FI" sz="1200" b="1" kern="1200">
              <a:latin typeface="Montserrat"/>
            </a:rPr>
          </a:br>
          <a:r>
            <a:rPr lang="en-US" sz="1200" b="1" i="0" kern="1200" err="1">
              <a:latin typeface="Arial"/>
            </a:rPr>
            <a:t>Inklusiivisuus</a:t>
          </a:r>
          <a:r>
            <a:rPr lang="en-US" sz="1200" b="1" i="0" kern="1200"/>
            <a:t>, </a:t>
          </a:r>
          <a:r>
            <a:rPr lang="en-US" sz="1200" b="1" i="0" kern="1200" err="1">
              <a:latin typeface="Arial"/>
            </a:rPr>
            <a:t>ihmisoikeusperustaisuus</a:t>
          </a:r>
          <a:r>
            <a:rPr lang="en-US" sz="1200" b="1" kern="1200">
              <a:latin typeface="Arial"/>
              <a:cs typeface="Arial"/>
            </a:rPr>
            <a:t>, paikallisjohtoisuus</a:t>
          </a:r>
          <a:endParaRPr lang="fi-FI" sz="1200" b="1" kern="1200">
            <a:latin typeface="Montserrat" panose="00000500000000000000" pitchFamily="2" charset="0"/>
          </a:endParaRP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i-FI" sz="700" kern="1200"/>
        </a:p>
      </dsp:txBody>
      <dsp:txXfrm>
        <a:off x="5275369" y="3553728"/>
        <a:ext cx="1214048" cy="118457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4">
  <dgm:title val=""/>
  <dgm:desc val=""/>
  <dgm:catLst>
    <dgm:cat type="pyramid" pri="4000"/>
    <dgm:cat type="relationship" pri="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varLst>
      <dgm:chMax val="9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4">
        <dgm:choose name="Name2">
          <dgm:if name="Name3" axis="ch" ptType="node" func="cnt" op="equ" val="1">
            <dgm:constrLst>
              <dgm:constr type="primFontSz" for="ch" ptType="node" op="equ" val="65"/>
              <dgm:constr type="t" for="ch" forName="triangle1"/>
              <dgm:constr type="l" for="ch" forName="triangle1"/>
              <dgm:constr type="h" for="ch" forName="triangle1" refType="h"/>
              <dgm:constr type="w" for="ch" forName="triangle1" refType="h"/>
            </dgm:constrLst>
          </dgm:if>
          <dgm:else name="Name4">
            <dgm:constrLst>
              <dgm:constr type="primFontSz" for="ch" ptType="node" op="equ" val="65"/>
              <dgm:constr type="t" for="ch" forName="triangle1"/>
              <dgm:constr type="l" for="ch" forName="triangle1" refType="h" fact="0.25"/>
              <dgm:constr type="h" for="ch" forName="triangle1" refType="h" fact="0.5"/>
              <dgm:constr type="w" for="ch" forName="triangle1" refType="h" fact="0.5"/>
              <dgm:constr type="t" for="ch" forName="triangle2" refType="h" fact="0.5"/>
              <dgm:constr type="l" for="ch" forName="triangle2"/>
              <dgm:constr type="h" for="ch" forName="triangle2" refType="h" fact="0.5"/>
              <dgm:constr type="w" for="ch" forName="triangle2" refType="h" fact="0.5"/>
              <dgm:constr type="t" for="ch" forName="triangle3" refType="h" fact="0.5"/>
              <dgm:constr type="l" for="ch" forName="triangle3" refType="h" fact="0.25"/>
              <dgm:constr type="h" for="ch" forName="triangle3" refType="h" fact="0.5"/>
              <dgm:constr type="w" for="ch" forName="triangle3" refType="h" fact="0.5"/>
              <dgm:constr type="t" for="ch" forName="triangle4" refType="h" fact="0.5"/>
              <dgm:constr type="l" for="ch" forName="triangle4" refType="h" fact="0.5"/>
              <dgm:constr type="h" for="ch" forName="triangle4" refType="h" fact="0.5"/>
              <dgm:constr type="w" for="ch" forName="triangle4" refType="h" fact="0.5"/>
            </dgm:constrLst>
          </dgm:else>
        </dgm:choose>
      </dgm:if>
      <dgm:else name="Name5">
        <dgm:constrLst>
          <dgm:constr type="primFontSz" for="ch" ptType="node" op="equ" val="65"/>
          <dgm:constr type="t" for="ch" forName="triangle1"/>
          <dgm:constr type="l" for="ch" forName="triangle1" refType="h" fact="0.33"/>
          <dgm:constr type="h" for="ch" forName="triangle1" refType="h" fact="0.33"/>
          <dgm:constr type="w" for="ch" forName="triangle1" refType="h" fact="0.33"/>
          <dgm:constr type="t" for="ch" forName="triangle2" refType="h" fact="0.33"/>
          <dgm:constr type="l" for="ch" forName="triangle2" refType="h" fact="0.165"/>
          <dgm:constr type="h" for="ch" forName="triangle2" refType="h" fact="0.33"/>
          <dgm:constr type="w" for="ch" forName="triangle2" refType="h" fact="0.33"/>
          <dgm:constr type="t" for="ch" forName="triangle3" refType="h" fact="0.33"/>
          <dgm:constr type="l" for="ch" forName="triangle3" refType="h" fact="0.33"/>
          <dgm:constr type="h" for="ch" forName="triangle3" refType="h" fact="0.33"/>
          <dgm:constr type="w" for="ch" forName="triangle3" refType="h" fact="0.33"/>
          <dgm:constr type="t" for="ch" forName="triangle4" refType="h" fact="0.33"/>
          <dgm:constr type="l" for="ch" forName="triangle4" refType="h" fact="0.495"/>
          <dgm:constr type="h" for="ch" forName="triangle4" refType="h" fact="0.33"/>
          <dgm:constr type="w" for="ch" forName="triangle4" refType="h" fact="0.33"/>
          <dgm:constr type="t" for="ch" forName="triangle5" refType="h" fact="0.66"/>
          <dgm:constr type="l" for="ch" forName="triangle5"/>
          <dgm:constr type="h" for="ch" forName="triangle5" refType="h" fact="0.33"/>
          <dgm:constr type="w" for="ch" forName="triangle5" refType="h" fact="0.33"/>
          <dgm:constr type="t" for="ch" forName="triangle6" refType="h" fact="0.66"/>
          <dgm:constr type="l" for="ch" forName="triangle6" refType="h" fact="0.165"/>
          <dgm:constr type="h" for="ch" forName="triangle6" refType="h" fact="0.33"/>
          <dgm:constr type="w" for="ch" forName="triangle6" refType="h" fact="0.33"/>
          <dgm:constr type="t" for="ch" forName="triangle7" refType="h" fact="0.66"/>
          <dgm:constr type="l" for="ch" forName="triangle7" refType="h" fact="0.33"/>
          <dgm:constr type="h" for="ch" forName="triangle7" refType="h" fact="0.33"/>
          <dgm:constr type="w" for="ch" forName="triangle7" refType="h" fact="0.33"/>
          <dgm:constr type="t" for="ch" forName="triangle8" refType="h" fact="0.66"/>
          <dgm:constr type="l" for="ch" forName="triangle8" refType="h" fact="0.495"/>
          <dgm:constr type="h" for="ch" forName="triangle8" refType="h" fact="0.33"/>
          <dgm:constr type="w" for="ch" forName="triangle8" refType="h" fact="0.33"/>
          <dgm:constr type="t" for="ch" forName="triangle9" refType="h" fact="0.66"/>
          <dgm:constr type="l" for="ch" forName="triangle9" refType="h" fact="0.66"/>
          <dgm:constr type="h" for="ch" forName="triangle9" refType="h" fact="0.33"/>
          <dgm:constr type="w" for="ch" forName="triangle9" refType="h" fact="0.33"/>
        </dgm:constrLst>
      </dgm:else>
    </dgm:choose>
    <dgm:ruleLst/>
    <dgm:choose name="Name6">
      <dgm:if name="Name7" axis="ch" ptType="node" func="cnt" op="gte" val="1">
        <dgm:layoutNode name="triangle1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8"/>
    </dgm:choose>
    <dgm:choose name="Name9">
      <dgm:if name="Name10" axis="ch" ptType="node" func="cnt" op="gte" val="2">
        <dgm:layoutNode name="triangle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1">
            <dgm:if name="Name12" func="var" arg="dir" op="equ" val="norm">
              <dgm:presOf axis="ch desOrSelf" ptType="node node" st="2 1" cnt="1 0"/>
            </dgm:if>
            <dgm:else name="Name13">
              <dgm:presOf axis="ch desOrSelf" ptType="node node" st="4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3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4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4">
            <dgm:if name="Name15" func="var" arg="dir" op="equ" val="norm">
              <dgm:presOf axis="ch desOrSelf" ptType="node node" st="4 1" cnt="1 0"/>
            </dgm:if>
            <dgm:else name="Name16">
              <dgm:presOf axis="ch desOrSelf" ptType="node node" st="2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17"/>
    </dgm:choose>
    <dgm:choose name="Name18">
      <dgm:if name="Name19" axis="ch" ptType="node" func="cnt" op="gte" val="5">
        <dgm:layoutNode name="triangle5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0">
            <dgm:if name="Name21" func="var" arg="dir" op="equ" val="norm">
              <dgm:presOf axis="ch desOrSelf" ptType="node node" st="5 1" cnt="1 0"/>
            </dgm:if>
            <dgm:else name="Name22">
              <dgm:presOf axis="ch desOrSelf" ptType="node node" st="9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6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3">
            <dgm:if name="Name24" func="var" arg="dir" op="equ" val="norm">
              <dgm:presOf axis="ch desOrSelf" ptType="node node" st="6 1" cnt="1 0"/>
            </dgm:if>
            <dgm:else name="Name25">
              <dgm:presOf axis="ch desOrSelf" ptType="node node" st="8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7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7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8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6">
            <dgm:if name="Name27" func="var" arg="dir" op="equ" val="norm">
              <dgm:presOf axis="ch desOrSelf" ptType="node node" st="8 1" cnt="1 0"/>
            </dgm:if>
            <dgm:else name="Name28">
              <dgm:presOf axis="ch desOrSelf" ptType="node node" st="6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9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9">
            <dgm:if name="Name30" func="var" arg="dir" op="equ" val="norm">
              <dgm:presOf axis="ch desOrSelf" ptType="node node" st="9 1" cnt="1 0"/>
            </dgm:if>
            <dgm:else name="Name31">
              <dgm:presOf axis="ch desOrSelf" ptType="node node" st="5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2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>
            <a:extLst>
              <a:ext uri="{FF2B5EF4-FFF2-40B4-BE49-F238E27FC236}">
                <a16:creationId xmlns:a16="http://schemas.microsoft.com/office/drawing/2014/main" id="{B04B9EBC-5D97-42BF-B6EB-8E1B9C43771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BAE2037F-A1E2-4CCA-8629-3BDB2B3CEB1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403F91-E352-4BC0-865E-00C4B778E8F4}" type="datetimeFigureOut">
              <a:rPr lang="fi-FI" smtClean="0"/>
              <a:t>24.1.2025</a:t>
            </a:fld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314A672F-4E2F-4FD9-84E6-5C27D74926B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71937CE8-A32E-40B1-B45D-D4F2F4E5469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A7C6AB-2EC7-448B-8841-68F14F13640A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789855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B81401-98B2-4A2C-809B-B877EE2C7168}" type="datetimeFigureOut">
              <a:rPr lang="fi-FI" smtClean="0"/>
              <a:t>24.1.2025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EB9FF8-BAB1-4496-B899-A3D3A047A0D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798042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32FAA3-12E3-4075-87F5-AF16436D4734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78958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17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18.jpe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19.jpe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20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21.jpe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22.jpe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23.jpe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24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24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25.jpe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5" Type="http://schemas.openxmlformats.org/officeDocument/2006/relationships/image" Target="../media/image26.jpe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5" Type="http://schemas.openxmlformats.org/officeDocument/2006/relationships/image" Target="../media/image26.jpe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5" Type="http://schemas.openxmlformats.org/officeDocument/2006/relationships/image" Target="../media/image27.jpe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5" Type="http://schemas.openxmlformats.org/officeDocument/2006/relationships/image" Target="../media/image28.jpe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28.jpeg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5" Type="http://schemas.openxmlformats.org/officeDocument/2006/relationships/image" Target="../media/image29.jpe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5" Type="http://schemas.openxmlformats.org/officeDocument/2006/relationships/image" Target="../media/image30.jpe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5" Type="http://schemas.openxmlformats.org/officeDocument/2006/relationships/image" Target="../media/image30.jpe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5" Type="http://schemas.openxmlformats.org/officeDocument/2006/relationships/image" Target="../media/image31.jpeg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5" Type="http://schemas.openxmlformats.org/officeDocument/2006/relationships/image" Target="../media/image32.jpe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5" Type="http://schemas.openxmlformats.org/officeDocument/2006/relationships/image" Target="../media/image32.jpe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5" Type="http://schemas.openxmlformats.org/officeDocument/2006/relationships/image" Target="../media/image33.jpeg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5" Type="http://schemas.openxmlformats.org/officeDocument/2006/relationships/image" Target="../media/image34.jpeg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5" Type="http://schemas.openxmlformats.org/officeDocument/2006/relationships/image" Target="../media/image35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5" Type="http://schemas.openxmlformats.org/officeDocument/2006/relationships/image" Target="../media/image36.jpeg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5" Type="http://schemas.openxmlformats.org/officeDocument/2006/relationships/image" Target="../media/image37.jpeg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5" Type="http://schemas.openxmlformats.org/officeDocument/2006/relationships/image" Target="../media/image38.jpeg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5" Type="http://schemas.openxmlformats.org/officeDocument/2006/relationships/image" Target="../media/image39.png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5" Type="http://schemas.openxmlformats.org/officeDocument/2006/relationships/image" Target="../media/image40.jpeg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5" Type="http://schemas.openxmlformats.org/officeDocument/2006/relationships/image" Target="../media/image41.jpeg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dia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Kuva 1" descr="Kuva, joka sisältää kohteen pilvi, taivas, piha-, puu&#10;&#10;Kuvaus luotu automaattisesti">
            <a:extLst>
              <a:ext uri="{FF2B5EF4-FFF2-40B4-BE49-F238E27FC236}">
                <a16:creationId xmlns:a16="http://schemas.microsoft.com/office/drawing/2014/main" id="{1C38469F-DA15-FA5E-5C49-1E1BF8EA3739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64001" y="-140208"/>
            <a:ext cx="12456000" cy="6998208"/>
          </a:xfrm>
          <a:prstGeom prst="rect">
            <a:avLst/>
          </a:prstGeom>
        </p:spPr>
      </p:pic>
      <p:sp>
        <p:nvSpPr>
          <p:cNvPr id="11" name="Alaotsikko 2">
            <a:extLst>
              <a:ext uri="{FF2B5EF4-FFF2-40B4-BE49-F238E27FC236}">
                <a16:creationId xmlns:a16="http://schemas.microsoft.com/office/drawing/2014/main" id="{9DB31F58-7512-4C02-B754-EF977BCAB0D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30244" y="3670234"/>
            <a:ext cx="3993137" cy="1613647"/>
          </a:xfrm>
        </p:spPr>
        <p:txBody>
          <a:bodyPr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amalla</a:t>
            </a:r>
          </a:p>
        </p:txBody>
      </p:sp>
      <p:sp>
        <p:nvSpPr>
          <p:cNvPr id="7" name="Otsikko 1">
            <a:extLst>
              <a:ext uri="{FF2B5EF4-FFF2-40B4-BE49-F238E27FC236}">
                <a16:creationId xmlns:a16="http://schemas.microsoft.com/office/drawing/2014/main" id="{46F23E10-3027-48D9-BA5D-0A9A13FDAD3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046258" y="1328057"/>
            <a:ext cx="4577123" cy="2034348"/>
          </a:xfrm>
        </p:spPr>
        <p:txBody>
          <a:bodyPr vert="horz" anchor="b">
            <a:normAutofit/>
          </a:bodyPr>
          <a:lstStyle>
            <a:lvl1pPr algn="r">
              <a:defRPr sz="44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Lisää otsikko napsauttamalla</a:t>
            </a:r>
          </a:p>
        </p:txBody>
      </p:sp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25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Kuva 3" descr="Kuva, joka sisältää kohteen symboli, teksti, logo, Fontti&#10;&#10;Kuvaus luotu automaattisesti">
            <a:extLst>
              <a:ext uri="{FF2B5EF4-FFF2-40B4-BE49-F238E27FC236}">
                <a16:creationId xmlns:a16="http://schemas.microsoft.com/office/drawing/2014/main" id="{A626C848-60CF-8E9C-CBD4-11A07E231120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71575" y="4831455"/>
            <a:ext cx="2641751" cy="1867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1633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dia_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3" descr="Kuva, joka sisältää kohteen Ihmisen kasvot, vaate, henkilö, poika&#10;&#10;Kuvaus luotu automaattisesti">
            <a:extLst>
              <a:ext uri="{FF2B5EF4-FFF2-40B4-BE49-F238E27FC236}">
                <a16:creationId xmlns:a16="http://schemas.microsoft.com/office/drawing/2014/main" id="{DD584386-2EA4-5835-90A6-D403940F684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399"/>
          <a:stretch/>
        </p:blipFill>
        <p:spPr>
          <a:xfrm>
            <a:off x="0" y="0"/>
            <a:ext cx="12204000" cy="7169738"/>
          </a:xfrm>
          <a:prstGeom prst="rect">
            <a:avLst/>
          </a:prstGeom>
        </p:spPr>
      </p:pic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9861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 descr="Kuva, joka sisältää kohteen symboli, teksti, logo, Fontti&#10;&#10;Kuvaus luotu automaattisesti">
            <a:extLst>
              <a:ext uri="{FF2B5EF4-FFF2-40B4-BE49-F238E27FC236}">
                <a16:creationId xmlns:a16="http://schemas.microsoft.com/office/drawing/2014/main" id="{5182E8CB-3898-3B9A-F661-52BE9260943E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12805" y="4912272"/>
            <a:ext cx="2641751" cy="1867714"/>
          </a:xfrm>
          <a:prstGeom prst="rect">
            <a:avLst/>
          </a:prstGeom>
        </p:spPr>
      </p:pic>
      <p:sp>
        <p:nvSpPr>
          <p:cNvPr id="14" name="Otsikko 1">
            <a:extLst>
              <a:ext uri="{FF2B5EF4-FFF2-40B4-BE49-F238E27FC236}">
                <a16:creationId xmlns:a16="http://schemas.microsoft.com/office/drawing/2014/main" id="{A32DAF12-5469-7137-E8EC-B4E9F1BD1E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22571" y="1061183"/>
            <a:ext cx="4577123" cy="2034348"/>
          </a:xfrm>
        </p:spPr>
        <p:txBody>
          <a:bodyPr vert="horz" anchor="b">
            <a:normAutofit/>
          </a:bodyPr>
          <a:lstStyle>
            <a:lvl1pPr algn="l"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Lisää otsikko napsauttamalla</a:t>
            </a:r>
          </a:p>
        </p:txBody>
      </p:sp>
      <p:sp>
        <p:nvSpPr>
          <p:cNvPr id="15" name="Alaotsikko 2">
            <a:extLst>
              <a:ext uri="{FF2B5EF4-FFF2-40B4-BE49-F238E27FC236}">
                <a16:creationId xmlns:a16="http://schemas.microsoft.com/office/drawing/2014/main" id="{982A8E0B-5496-3710-AEE5-E7CC4CD37AE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22571" y="3366392"/>
            <a:ext cx="3993137" cy="161364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7419288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dia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3" descr="Kuva, joka sisältää kohteen Ihmisen kasvot, henkilö, taapero, vaate&#10;&#10;Kuvaus luotu automaattisesti">
            <a:extLst>
              <a:ext uri="{FF2B5EF4-FFF2-40B4-BE49-F238E27FC236}">
                <a16:creationId xmlns:a16="http://schemas.microsoft.com/office/drawing/2014/main" id="{C0EE51B3-A202-050F-B2DA-8E09E419A59B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60"/>
          <a:stretch/>
        </p:blipFill>
        <p:spPr>
          <a:xfrm>
            <a:off x="0" y="0"/>
            <a:ext cx="12191999" cy="7163999"/>
          </a:xfrm>
          <a:prstGeom prst="rect">
            <a:avLst/>
          </a:prstGeom>
        </p:spPr>
      </p:pic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5327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 descr="Kuva, joka sisältää kohteen symboli, teksti, logo, Fontti&#10;&#10;Kuvaus luotu automaattisesti">
            <a:extLst>
              <a:ext uri="{FF2B5EF4-FFF2-40B4-BE49-F238E27FC236}">
                <a16:creationId xmlns:a16="http://schemas.microsoft.com/office/drawing/2014/main" id="{50993F08-CC65-4E1C-54AA-B64130270703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3096" y="4876698"/>
            <a:ext cx="2641751" cy="1867714"/>
          </a:xfrm>
          <a:prstGeom prst="rect">
            <a:avLst/>
          </a:prstGeom>
        </p:spPr>
      </p:pic>
      <p:sp>
        <p:nvSpPr>
          <p:cNvPr id="6" name="Alaotsikko 2">
            <a:extLst>
              <a:ext uri="{FF2B5EF4-FFF2-40B4-BE49-F238E27FC236}">
                <a16:creationId xmlns:a16="http://schemas.microsoft.com/office/drawing/2014/main" id="{9495913B-7142-6F9B-73B2-93BA0D1E638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101725" y="3398992"/>
            <a:ext cx="3993137" cy="1613647"/>
          </a:xfrm>
        </p:spPr>
        <p:txBody>
          <a:bodyPr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amalla</a:t>
            </a:r>
          </a:p>
        </p:txBody>
      </p:sp>
      <p:sp>
        <p:nvSpPr>
          <p:cNvPr id="7" name="Otsikko 1">
            <a:extLst>
              <a:ext uri="{FF2B5EF4-FFF2-40B4-BE49-F238E27FC236}">
                <a16:creationId xmlns:a16="http://schemas.microsoft.com/office/drawing/2014/main" id="{F8EDBC9C-4A11-0B42-A416-6957E81B05D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517739" y="1056815"/>
            <a:ext cx="4577123" cy="2034348"/>
          </a:xfrm>
        </p:spPr>
        <p:txBody>
          <a:bodyPr vert="horz" anchor="b">
            <a:normAutofit/>
          </a:bodyPr>
          <a:lstStyle>
            <a:lvl1pPr algn="r">
              <a:defRPr sz="44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Lisää otsikko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7765821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_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3" descr="Kuva, joka sisältää kohteen vaate, henkilö, taapero, sisä-&#10;&#10;Kuvaus luotu automaattisesti">
            <a:extLst>
              <a:ext uri="{FF2B5EF4-FFF2-40B4-BE49-F238E27FC236}">
                <a16:creationId xmlns:a16="http://schemas.microsoft.com/office/drawing/2014/main" id="{5192908B-6D4E-6560-88BA-79A1BB3A559A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5327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71AB034B-6E7E-4993-86B1-F0CF3D6AA6C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3815" y="1732113"/>
            <a:ext cx="4577123" cy="2034348"/>
          </a:xfrm>
        </p:spPr>
        <p:txBody>
          <a:bodyPr vert="horz" anchor="b">
            <a:normAutofit/>
          </a:bodyPr>
          <a:lstStyle>
            <a:lvl1pPr algn="l"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Lisää otsikko</a:t>
            </a:r>
            <a:br>
              <a:rPr lang="fi-FI"/>
            </a:br>
            <a:r>
              <a:rPr lang="fi-FI"/>
              <a:t>napsauttamalla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FE324253-C421-4608-9A39-FF85305E87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3815" y="4037322"/>
            <a:ext cx="3993137" cy="161364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amalla</a:t>
            </a:r>
          </a:p>
        </p:txBody>
      </p:sp>
      <p:pic>
        <p:nvPicPr>
          <p:cNvPr id="5" name="Kuva 4" descr="Kuva, joka sisältää kohteen symboli, teksti, logo, Fontti&#10;&#10;Kuvaus luotu automaattisesti">
            <a:extLst>
              <a:ext uri="{FF2B5EF4-FFF2-40B4-BE49-F238E27FC236}">
                <a16:creationId xmlns:a16="http://schemas.microsoft.com/office/drawing/2014/main" id="{529F3CC2-3886-1436-B35B-DFCA6E7D36BC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0249" y="273457"/>
            <a:ext cx="2641751" cy="1867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56995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104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B7054C96-6274-4344-8F1C-9D8B3F9EBD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71AB034B-6E7E-4993-86B1-F0CF3D6AA6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591089"/>
            <a:ext cx="9144000" cy="2387600"/>
          </a:xfrm>
        </p:spPr>
        <p:txBody>
          <a:bodyPr vert="horz" anchor="b">
            <a:normAutofit/>
          </a:bodyPr>
          <a:lstStyle>
            <a:lvl1pPr algn="ctr">
              <a:defRPr sz="5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FE324253-C421-4608-9A39-FF85305E87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395267"/>
            <a:ext cx="9144000" cy="156659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amalla</a:t>
            </a:r>
          </a:p>
        </p:txBody>
      </p:sp>
      <p:cxnSp>
        <p:nvCxnSpPr>
          <p:cNvPr id="9" name="Suora yhdysviiva 8">
            <a:extLst>
              <a:ext uri="{FF2B5EF4-FFF2-40B4-BE49-F238E27FC236}">
                <a16:creationId xmlns:a16="http://schemas.microsoft.com/office/drawing/2014/main" id="{E4DA1EC6-FD96-4315-9EBD-2928B8B679DF}"/>
              </a:ext>
            </a:extLst>
          </p:cNvPr>
          <p:cNvCxnSpPr>
            <a:cxnSpLocks/>
          </p:cNvCxnSpPr>
          <p:nvPr userDrawn="1"/>
        </p:nvCxnSpPr>
        <p:spPr>
          <a:xfrm>
            <a:off x="4898211" y="4194149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06309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i 7" hidden="1">
            <a:extLst>
              <a:ext uri="{FF2B5EF4-FFF2-40B4-BE49-F238E27FC236}">
                <a16:creationId xmlns:a16="http://schemas.microsoft.com/office/drawing/2014/main" id="{83BC1A8A-A3C3-4DC4-A71B-238228D24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4759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8" name="Objekti 7" hidden="1">
                        <a:extLst>
                          <a:ext uri="{FF2B5EF4-FFF2-40B4-BE49-F238E27FC236}">
                            <a16:creationId xmlns:a16="http://schemas.microsoft.com/office/drawing/2014/main" id="{83BC1A8A-A3C3-4DC4-A71B-238228D24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Kuva 9">
            <a:extLst>
              <a:ext uri="{FF2B5EF4-FFF2-40B4-BE49-F238E27FC236}">
                <a16:creationId xmlns:a16="http://schemas.microsoft.com/office/drawing/2014/main" id="{13994B2C-6ECC-4E39-B141-20CC0B17B37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3F7BCA4F-9062-4B46-9FA2-755EDD857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1468" y="1830722"/>
            <a:ext cx="5018363" cy="1642460"/>
          </a:xfrm>
        </p:spPr>
        <p:txBody>
          <a:bodyPr vert="horz" anchor="b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8B774BBC-BD18-4C6B-B972-A50EF26B2F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54266" y="701702"/>
            <a:ext cx="4856309" cy="5454597"/>
          </a:xfrm>
        </p:spPr>
        <p:txBody>
          <a:bodyPr anchor="ctr"/>
          <a:lstStyle>
            <a:lvl4pPr>
              <a:defRPr/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CF5B6CC3-33F4-4CC1-81A3-6A2EC0F72F0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244533" y="143813"/>
            <a:ext cx="2743200" cy="365125"/>
          </a:xfrm>
        </p:spPr>
        <p:txBody>
          <a:bodyPr/>
          <a:lstStyle>
            <a:lvl1pPr algn="r">
              <a:defRPr/>
            </a:lvl1pPr>
          </a:lstStyle>
          <a:p>
            <a:fld id="{C195E768-76B1-434E-9289-2595ECCB79C4}" type="datetime1">
              <a:rPr lang="fi-FI" smtClean="0"/>
              <a:t>24.1.2025</a:t>
            </a:fld>
            <a:endParaRPr lang="fi-FI"/>
          </a:p>
        </p:txBody>
      </p:sp>
      <p:sp>
        <p:nvSpPr>
          <p:cNvPr id="15" name="Dian numeron paikkamerkki 5">
            <a:extLst>
              <a:ext uri="{FF2B5EF4-FFF2-40B4-BE49-F238E27FC236}">
                <a16:creationId xmlns:a16="http://schemas.microsoft.com/office/drawing/2014/main" id="{484D391B-6EFF-4180-9E7A-334F2CB52EDE}"/>
              </a:ext>
            </a:extLst>
          </p:cNvPr>
          <p:cNvSpPr txBox="1">
            <a:spLocks/>
          </p:cNvSpPr>
          <p:nvPr userDrawn="1"/>
        </p:nvSpPr>
        <p:spPr>
          <a:xfrm>
            <a:off x="9206113" y="63119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i-FI"/>
            </a:defPPr>
            <a:lvl1pPr marL="0" algn="r" defTabSz="914400" rtl="0" eaLnBrk="1" latinLnBrk="0" hangingPunct="1">
              <a:defRPr sz="1100" kern="12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B37718-6688-4F18-A3A4-5BFEA6AE51A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3" name="Tekstin paikkamerkki 3">
            <a:extLst>
              <a:ext uri="{FF2B5EF4-FFF2-40B4-BE49-F238E27FC236}">
                <a16:creationId xmlns:a16="http://schemas.microsoft.com/office/drawing/2014/main" id="{EF4AC885-2B1D-41F5-80AC-E7E8B389265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61468" y="3622431"/>
            <a:ext cx="5018363" cy="2246556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426947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5322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741230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CC217645-96B5-47AF-95C0-032F69900F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612570" y="1825625"/>
            <a:ext cx="874123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9FD0A6-F645-4688-BBAF-B521945A26F4}" type="datetime1">
              <a:rPr lang="fi-FI" smtClean="0"/>
              <a:t>24.1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917470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3369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867376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CC217645-96B5-47AF-95C0-032F69900F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23099" y="1825625"/>
            <a:ext cx="4356848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6A09B5-4BD5-4BED-8EEC-68F2A4ACDD07}" type="datetime1">
              <a:rPr lang="fi-FI" smtClean="0"/>
              <a:t>24.1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1" name="Sisällön paikkamerkki 3">
            <a:extLst>
              <a:ext uri="{FF2B5EF4-FFF2-40B4-BE49-F238E27FC236}">
                <a16:creationId xmlns:a16="http://schemas.microsoft.com/office/drawing/2014/main" id="{4FFC9929-2D4B-4FA7-A3FA-B826124BFBE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2612570" y="1825625"/>
            <a:ext cx="4356848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23618585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palstaa otsiko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5634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867376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BFAD4-1674-4CF2-B45B-8A6AE3267E70}" type="datetime1">
              <a:rPr lang="fi-FI" smtClean="0"/>
              <a:t>24.1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ekstin paikkamerkki 2">
            <a:extLst>
              <a:ext uri="{FF2B5EF4-FFF2-40B4-BE49-F238E27FC236}">
                <a16:creationId xmlns:a16="http://schemas.microsoft.com/office/drawing/2014/main" id="{DB8E5AD2-AC49-41BF-8E8E-B9E708CF8B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12570" y="1825625"/>
            <a:ext cx="435684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2" name="Tekstin paikkamerkki 4">
            <a:extLst>
              <a:ext uri="{FF2B5EF4-FFF2-40B4-BE49-F238E27FC236}">
                <a16:creationId xmlns:a16="http://schemas.microsoft.com/office/drawing/2014/main" id="{682673EF-6749-45FF-934F-521AB8AF89D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123099" y="1825625"/>
            <a:ext cx="435684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3" name="Sisällön paikkamerkki 3">
            <a:extLst>
              <a:ext uri="{FF2B5EF4-FFF2-40B4-BE49-F238E27FC236}">
                <a16:creationId xmlns:a16="http://schemas.microsoft.com/office/drawing/2014/main" id="{144CFA57-DA64-4D38-8D84-371526158F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23099" y="2649537"/>
            <a:ext cx="4356848" cy="3527426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14" name="Sisällön paikkamerkki 3">
            <a:extLst>
              <a:ext uri="{FF2B5EF4-FFF2-40B4-BE49-F238E27FC236}">
                <a16:creationId xmlns:a16="http://schemas.microsoft.com/office/drawing/2014/main" id="{EA4B8D27-0B6D-4D93-BEA3-C8D021A54D4C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2612570" y="2649537"/>
            <a:ext cx="4356848" cy="3527426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23851370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960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56E71187-36AE-484F-BB17-5AEC7FEC5FA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04367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4972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F0B70832-C857-4352-9AB3-07B0CEC30C8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0598766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dia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3" descr="Kuva, joka sisältää kohteen Ihmisen kasvot, vaate, henkilö, tyttö&#10;&#10;Kuvaus luotu automaattisesti">
            <a:extLst>
              <a:ext uri="{FF2B5EF4-FFF2-40B4-BE49-F238E27FC236}">
                <a16:creationId xmlns:a16="http://schemas.microsoft.com/office/drawing/2014/main" id="{12683D11-A1D5-1D0B-7F41-FB94E27F2FFC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9861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 descr="Kuva, joka sisältää kohteen symboli, teksti, logo, Fontti&#10;&#10;Kuvaus luotu automaattisesti">
            <a:extLst>
              <a:ext uri="{FF2B5EF4-FFF2-40B4-BE49-F238E27FC236}">
                <a16:creationId xmlns:a16="http://schemas.microsoft.com/office/drawing/2014/main" id="{EFE43AA5-81C5-F0DD-F621-ED4D137FBF9C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70810"/>
            <a:ext cx="2641751" cy="1867714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885D218D-89FB-42EC-E303-594063FA00A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678917" y="1954395"/>
            <a:ext cx="4577123" cy="2034348"/>
          </a:xfrm>
        </p:spPr>
        <p:txBody>
          <a:bodyPr vert="horz" anchor="b">
            <a:normAutofit/>
          </a:bodyPr>
          <a:lstStyle>
            <a:lvl1pPr algn="l"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Lisää otsikko napsauttamalla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93B57076-37A1-45FB-B9E2-48056B91EB3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78917" y="4259604"/>
            <a:ext cx="3993137" cy="161364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1683687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4593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69DB39D1-E9DE-4768-B8E5-E053B3D9525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94807328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493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 descr="Kuva, joka sisältää kohteen projektori&#10;&#10;Kuvaus luotu automaattisesti">
            <a:extLst>
              <a:ext uri="{FF2B5EF4-FFF2-40B4-BE49-F238E27FC236}">
                <a16:creationId xmlns:a16="http://schemas.microsoft.com/office/drawing/2014/main" id="{1F6A6F5A-2B5A-4C9F-8B1D-C8C1B4F6F11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78799685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2627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7D072600-72AA-43DA-A6A5-4467A400B24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6769489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1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6971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 descr="Kuva, joka sisältää kohteen nuoli&#10;&#10;Kuvaus luotu automaattisesti">
            <a:extLst>
              <a:ext uri="{FF2B5EF4-FFF2-40B4-BE49-F238E27FC236}">
                <a16:creationId xmlns:a16="http://schemas.microsoft.com/office/drawing/2014/main" id="{1076E750-FB3F-4D51-A144-AEF6A57EDC2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CB9458-F8AF-497E-9F81-AD036D03DEDB}" type="datetime1">
              <a:rPr lang="fi-FI" smtClean="0"/>
              <a:t>24.1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6940445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1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5751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 descr="Kuva, joka sisältää kohteen nuoli&#10;&#10;Kuvaus luotu automaattisesti">
            <a:extLst>
              <a:ext uri="{FF2B5EF4-FFF2-40B4-BE49-F238E27FC236}">
                <a16:creationId xmlns:a16="http://schemas.microsoft.com/office/drawing/2014/main" id="{1076E750-FB3F-4D51-A144-AEF6A57EDC2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009661-B6A2-4FCB-BD74-92B50AB3778C}" type="datetime1">
              <a:rPr lang="fi-FI" smtClean="0"/>
              <a:t>24.1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6CE89924-14C9-4296-ABC7-EBBCD552A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13" name="Tekstin paikkamerkki 3">
            <a:extLst>
              <a:ext uri="{FF2B5EF4-FFF2-40B4-BE49-F238E27FC236}">
                <a16:creationId xmlns:a16="http://schemas.microsoft.com/office/drawing/2014/main" id="{15A44A2E-E5B2-4E04-80E5-5944B427B0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47655081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1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1290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A64F9AF8-C832-478A-829F-2E210CB7E81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6AAAD7-C136-4D1E-AF2E-19C7BA22B24F}" type="datetime1">
              <a:rPr lang="fi-FI" smtClean="0"/>
              <a:t>24.1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149921026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2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139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27A65451-5E9A-4362-B56B-472B5EC62E1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27017-FB81-4058-9ED0-07FC92AC8426}" type="datetime1">
              <a:rPr lang="fi-FI" smtClean="0"/>
              <a:t>24.1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0642851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2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0731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Kuva 11">
            <a:extLst>
              <a:ext uri="{FF2B5EF4-FFF2-40B4-BE49-F238E27FC236}">
                <a16:creationId xmlns:a16="http://schemas.microsoft.com/office/drawing/2014/main" id="{BC0B16E9-3EA2-4500-8BB5-B551C527566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AE43D5-4913-4B12-8F1A-D77C9E7C9514}" type="datetime1">
              <a:rPr lang="fi-FI" smtClean="0"/>
              <a:t>24.1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053A0229-BAFC-4889-A089-6AEF35F3AC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6350BE49-FFA0-4D9E-B58E-CD5AA20BE0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00235248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2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361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0B3FA059-4826-40F7-A69B-9938401E2EB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BA3C4-84FB-423B-A833-1DD13600A864}" type="datetime1">
              <a:rPr lang="fi-FI" smtClean="0"/>
              <a:t>24.1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239842244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3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6587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Kuva 14">
            <a:extLst>
              <a:ext uri="{FF2B5EF4-FFF2-40B4-BE49-F238E27FC236}">
                <a16:creationId xmlns:a16="http://schemas.microsoft.com/office/drawing/2014/main" id="{7FDD56A1-7DDE-49A6-9567-FDDE69B065D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AB70B-7C2E-4009-96C2-C9329400CE93}" type="datetime1">
              <a:rPr lang="fi-FI" smtClean="0"/>
              <a:t>24.1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107468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dia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3" descr="Kuva, joka sisältää kohteen Ihmisen kasvot, henkilö, vaate, hymy&#10;&#10;Kuvaus luotu automaattisesti">
            <a:extLst>
              <a:ext uri="{FF2B5EF4-FFF2-40B4-BE49-F238E27FC236}">
                <a16:creationId xmlns:a16="http://schemas.microsoft.com/office/drawing/2014/main" id="{35FE94A8-6D54-C26D-3E65-46A53A879F9E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2192"/>
            <a:ext cx="12204000" cy="6876000"/>
          </a:xfrm>
          <a:prstGeom prst="rect">
            <a:avLst/>
          </a:prstGeom>
        </p:spPr>
      </p:pic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9861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 descr="Kuva, joka sisältää kohteen symboli, teksti, logo, Fontti&#10;&#10;Kuvaus luotu automaattisesti">
            <a:extLst>
              <a:ext uri="{FF2B5EF4-FFF2-40B4-BE49-F238E27FC236}">
                <a16:creationId xmlns:a16="http://schemas.microsoft.com/office/drawing/2014/main" id="{5101497B-0CC3-0AC6-1F22-56E44175D74B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4792" y="404368"/>
            <a:ext cx="2641751" cy="1867714"/>
          </a:xfrm>
          <a:prstGeom prst="rect">
            <a:avLst/>
          </a:prstGeom>
        </p:spPr>
      </p:pic>
      <p:sp>
        <p:nvSpPr>
          <p:cNvPr id="11" name="Alaotsikko 2">
            <a:extLst>
              <a:ext uri="{FF2B5EF4-FFF2-40B4-BE49-F238E27FC236}">
                <a16:creationId xmlns:a16="http://schemas.microsoft.com/office/drawing/2014/main" id="{B6620BA0-FA13-A904-BCC3-123312648DA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396365" y="3449792"/>
            <a:ext cx="3993137" cy="1613647"/>
          </a:xfrm>
        </p:spPr>
        <p:txBody>
          <a:bodyPr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amalla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D24D9ED7-4E46-2F0E-1B28-1D7ED6D58A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12379" y="1107615"/>
            <a:ext cx="4577123" cy="2034348"/>
          </a:xfrm>
        </p:spPr>
        <p:txBody>
          <a:bodyPr vert="horz" anchor="b">
            <a:normAutofit/>
          </a:bodyPr>
          <a:lstStyle>
            <a:lvl1pPr algn="r">
              <a:defRPr sz="44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Lisää otsikko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427365118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3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202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Kuva 14">
            <a:extLst>
              <a:ext uri="{FF2B5EF4-FFF2-40B4-BE49-F238E27FC236}">
                <a16:creationId xmlns:a16="http://schemas.microsoft.com/office/drawing/2014/main" id="{259B10F8-B6DC-4B68-998C-8044E40EBE0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CAB408-7E6A-4561-A965-EDE232A4655D}" type="datetime1">
              <a:rPr lang="fi-FI" smtClean="0"/>
              <a:t>24.1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D3138AF5-5CEC-4AE0-BE62-910C1F3B1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775952BB-93C9-4F88-A388-BBDC5FBA89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27469943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3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1677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Kuva 9">
            <a:extLst>
              <a:ext uri="{FF2B5EF4-FFF2-40B4-BE49-F238E27FC236}">
                <a16:creationId xmlns:a16="http://schemas.microsoft.com/office/drawing/2014/main" id="{C9CF7A8C-CE21-4C7A-A00A-F77810DA90D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9925B-DA76-45EB-B569-214FB920AC23}" type="datetime1">
              <a:rPr lang="fi-FI" smtClean="0"/>
              <a:t>24.1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139499598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4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9787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Kuva 11" descr="Kuva, joka sisältää kohteen nuoli&#10;&#10;Kuvaus luotu automaattisesti">
            <a:extLst>
              <a:ext uri="{FF2B5EF4-FFF2-40B4-BE49-F238E27FC236}">
                <a16:creationId xmlns:a16="http://schemas.microsoft.com/office/drawing/2014/main" id="{87376913-E50E-4387-9E96-C5E04E43BF0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D3A492-0714-4886-B211-87CBBA09BAA6}" type="datetime1">
              <a:rPr lang="fi-FI" smtClean="0"/>
              <a:t>24.1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9979251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4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4042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 descr="Kuva, joka sisältää kohteen nuoli&#10;&#10;Kuvaus luotu automaattisesti">
            <a:extLst>
              <a:ext uri="{FF2B5EF4-FFF2-40B4-BE49-F238E27FC236}">
                <a16:creationId xmlns:a16="http://schemas.microsoft.com/office/drawing/2014/main" id="{8129CBB7-CA95-4DB5-BA28-C36DB59D895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DBCB3-DE3E-4E88-A776-8A852B77D7ED}" type="datetime1">
              <a:rPr lang="fi-FI" smtClean="0"/>
              <a:t>24.1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D3138AF5-5CEC-4AE0-BE62-910C1F3B1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775952BB-93C9-4F88-A388-BBDC5FBA89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425242328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4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612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2D9143B0-048A-4677-98A2-9C8E5C0077F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726563-8E94-456C-AB1A-BC730F03108B}" type="datetime1">
              <a:rPr lang="fi-FI" smtClean="0"/>
              <a:t>24.1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380069139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5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9558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4945E664-5DB1-4537-B836-CD53F16D6C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655EB4-BFD9-4BD5-B3DE-197159AF66A2}" type="datetime1">
              <a:rPr lang="fi-FI" smtClean="0"/>
              <a:t>24.1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777927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5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029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>
            <a:extLst>
              <a:ext uri="{FF2B5EF4-FFF2-40B4-BE49-F238E27FC236}">
                <a16:creationId xmlns:a16="http://schemas.microsoft.com/office/drawing/2014/main" id="{9FCF73B0-126B-453B-9EA7-F5AB6B42322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F45808-44CB-4246-A8C2-12D8E3391149}" type="datetime1">
              <a:rPr lang="fi-FI" smtClean="0"/>
              <a:t>24.1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D3138AF5-5CEC-4AE0-BE62-910C1F3B1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775952BB-93C9-4F88-A388-BBDC5FBA89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51898985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5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0163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1B3519DA-7254-4EAF-94F9-707A1108726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2B7124-2A20-4688-9892-F5411985B26C}" type="datetime1">
              <a:rPr lang="fi-FI" smtClean="0"/>
              <a:t>24.1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206886603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osto/sitaatt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8298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AC71C887-6855-4E89-A710-FEA8506D6DB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/>
              <a:t>”Nosto tai sitaatti sopii tähän paikkaan hyvin”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– Sitaatin lähde</a:t>
            </a:r>
          </a:p>
        </p:txBody>
      </p:sp>
    </p:spTree>
    <p:extLst>
      <p:ext uri="{BB962C8B-B14F-4D97-AF65-F5344CB8AC3E}">
        <p14:creationId xmlns:p14="http://schemas.microsoft.com/office/powerpoint/2010/main" val="172837998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7818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C1413E65-1FC2-4106-AEF1-A00456FD8D3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E6E2ED78-3D5B-473F-BCF0-111548C534F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06D2A48F-A03B-4638-8B46-A1FCCA31D1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3044771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3" descr="Kuva, joka sisältää kohteen sateenkaari, piha-, taivas, puu&#10;&#10;Kuvaus luotu automaattisesti">
            <a:extLst>
              <a:ext uri="{FF2B5EF4-FFF2-40B4-BE49-F238E27FC236}">
                <a16:creationId xmlns:a16="http://schemas.microsoft.com/office/drawing/2014/main" id="{8D88EADF-0013-6E43-1E90-2B9207A2FC85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770" y="0"/>
            <a:ext cx="12213540" cy="6858000"/>
          </a:xfrm>
          <a:prstGeom prst="rect">
            <a:avLst/>
          </a:prstGeom>
        </p:spPr>
      </p:pic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9861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71AB034B-6E7E-4993-86B1-F0CF3D6AA6C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63495" y="1629199"/>
            <a:ext cx="4577123" cy="2034348"/>
          </a:xfrm>
        </p:spPr>
        <p:txBody>
          <a:bodyPr vert="horz" anchor="b">
            <a:normAutofit/>
          </a:bodyPr>
          <a:lstStyle>
            <a:lvl1pPr algn="l"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Lisää otsikko napsauttamalla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FE324253-C421-4608-9A39-FF85305E87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3495" y="3934408"/>
            <a:ext cx="3993137" cy="161364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amalla</a:t>
            </a:r>
          </a:p>
        </p:txBody>
      </p:sp>
      <p:pic>
        <p:nvPicPr>
          <p:cNvPr id="5" name="Kuva 4" descr="Kuva, joka sisältää kohteen symboli, Grafiikka, kuvakaappaus, ympyrä&#10;&#10;Kuvaus luotu automaattisesti">
            <a:extLst>
              <a:ext uri="{FF2B5EF4-FFF2-40B4-BE49-F238E27FC236}">
                <a16:creationId xmlns:a16="http://schemas.microsoft.com/office/drawing/2014/main" id="{D5FDA1ED-0A16-8562-6EE3-4EECC9CD4A2F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412" y="5211920"/>
            <a:ext cx="1012584" cy="1280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307748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3767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716E8CF5-015C-4FD3-8BB0-502BF8975EA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4A029B14-B9A6-465C-AEAD-B0E93AB26C5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6CF60A3C-77A3-4EFA-AFCA-36D7D38505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424017428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6202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1AE60BC4-2E88-4DC5-BEA2-177F4586E08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973D34D3-FF24-4809-8B1B-CCA9358AD97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C729F224-95F0-4AA3-BC77-5EB1336B01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158576434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7324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07BD73EF-DFB1-4164-B80E-F01AD87721B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FF7D5B88-F627-46DD-8F5F-B0121EC0654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0B051EC7-E656-4E75-891D-E9117789F8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313756941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419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741230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CC217645-96B5-47AF-95C0-032F69900F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612570" y="1825625"/>
            <a:ext cx="874123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9FD0A6-F645-4688-BBAF-B521945A26F4}" type="datetime1">
              <a:rPr lang="fi-FI" smtClean="0"/>
              <a:t>24.1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A64BDFE0-23FD-4FB9-868E-275C440A977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6061" y="2349000"/>
            <a:ext cx="2489314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195902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ppu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6545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Kuva 2" descr="Kuva, joka sisältää kohteen teksti&#10;&#10;Kuvaus luotu automaattisesti">
            <a:extLst>
              <a:ext uri="{FF2B5EF4-FFF2-40B4-BE49-F238E27FC236}">
                <a16:creationId xmlns:a16="http://schemas.microsoft.com/office/drawing/2014/main" id="{F259D9A4-6AF6-4C23-A391-60D757A78FE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192282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ppu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5269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2D5528BD-CFA5-4BDD-A809-8999A6D97C1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786063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407EB265-2842-363E-62B8-ED560AB79D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2FFCD6B4-5C38-EFE1-7502-C0220FFDEA8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157FDA44-217C-A5F5-2979-D87F79E458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4705A4-3BC4-4A02-A622-48CF89F7F014}" type="datetimeFigureOut">
              <a:rPr lang="fi-FI" smtClean="0"/>
              <a:t>24.1.2025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71678136-5C46-1C01-C6BC-FEE27806AD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108A7D63-77D7-9497-A09D-900A4A5969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A3964B-4E8A-4E29-BBCA-B53FC6F6E4BD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57067639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01C6C0ED-4219-C5E5-F664-622A4781E9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21D74DEA-3181-1DC2-0DB6-CEE8FCF2F8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83FDA7AD-30A3-4D21-B977-ACB775B8C9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4705A4-3BC4-4A02-A622-48CF89F7F014}" type="datetimeFigureOut">
              <a:rPr lang="fi-FI" smtClean="0"/>
              <a:t>24.1.2025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7B2D97F1-0A8D-3ACE-50D9-8FD7230BE2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D0DD4D67-2567-5A1A-AEE4-A8F718320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A3964B-4E8A-4E29-BBCA-B53FC6F6E4BD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89403628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4595E678-7B54-499C-FA02-E7AE12DFBD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B50D40DB-A496-2249-1039-082CB65D3C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2FCC096C-800E-9BE2-0EC8-C1485C776C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4705A4-3BC4-4A02-A622-48CF89F7F014}" type="datetimeFigureOut">
              <a:rPr lang="fi-FI" smtClean="0"/>
              <a:t>24.1.2025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B01492D6-DF07-3CC7-42A5-1CBF1D348B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79BB60D3-1F2E-B36F-F777-04427450CF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A3964B-4E8A-4E29-BBCA-B53FC6F6E4BD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12244890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D91F3480-0D3F-243F-8F4B-99B24CB956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55D46343-BACA-1730-D26E-A5CE02DB36D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252C6AF4-5A2B-5006-9B5E-7BD0DBBE6F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AD2B9DA3-38C7-BE35-BC3B-3EA5AE83CF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4705A4-3BC4-4A02-A622-48CF89F7F014}" type="datetimeFigureOut">
              <a:rPr lang="fi-FI" smtClean="0"/>
              <a:t>24.1.2025</a:t>
            </a:fld>
            <a:endParaRPr lang="fi-FI"/>
          </a:p>
        </p:txBody>
      </p:sp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7D01B157-06BC-C448-9311-DD83FBFC6E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3AC6EF22-5F99-26A7-3A4D-D3A52DEA01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A3964B-4E8A-4E29-BBCA-B53FC6F6E4BD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07908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3" descr="Kuva, joka sisältää kohteen vaate, Ihmisen kasvot, henkilö, mikrofoni&#10;&#10;Kuvaus luotu automaattisesti">
            <a:extLst>
              <a:ext uri="{FF2B5EF4-FFF2-40B4-BE49-F238E27FC236}">
                <a16:creationId xmlns:a16="http://schemas.microsoft.com/office/drawing/2014/main" id="{21AF3B9C-B46B-6F1A-ABDA-042DE5B5B296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000" y="0"/>
            <a:ext cx="12168000" cy="6876000"/>
          </a:xfrm>
          <a:prstGeom prst="rect">
            <a:avLst/>
          </a:prstGeom>
        </p:spPr>
      </p:pic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9861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71AB034B-6E7E-4993-86B1-F0CF3D6AA6C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63495" y="1917888"/>
            <a:ext cx="4577123" cy="2034348"/>
          </a:xfrm>
        </p:spPr>
        <p:txBody>
          <a:bodyPr vert="horz" anchor="b">
            <a:normAutofit/>
          </a:bodyPr>
          <a:lstStyle>
            <a:lvl1pPr algn="l"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Lisää otsikko napsauttamalla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FE324253-C421-4608-9A39-FF85305E87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3495" y="4223097"/>
            <a:ext cx="3993137" cy="161364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amalla</a:t>
            </a:r>
          </a:p>
        </p:txBody>
      </p:sp>
      <p:pic>
        <p:nvPicPr>
          <p:cNvPr id="5" name="Kuva 4" descr="Kuva, joka sisältää kohteen symboli, teksti, logo, Fontti&#10;&#10;Kuvaus luotu automaattisesti">
            <a:extLst>
              <a:ext uri="{FF2B5EF4-FFF2-40B4-BE49-F238E27FC236}">
                <a16:creationId xmlns:a16="http://schemas.microsoft.com/office/drawing/2014/main" id="{4AEA68A7-9D5A-BA12-14AF-453D360175B6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0249" y="320415"/>
            <a:ext cx="2641751" cy="1867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809251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D1D8FF63-DEB4-C3FE-58F9-EC407F97FE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53AF4C3A-BC76-169B-0CC8-38751E9636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0427DDFA-79D4-5916-93DC-50E38511096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Tekstin paikkamerkki 4">
            <a:extLst>
              <a:ext uri="{FF2B5EF4-FFF2-40B4-BE49-F238E27FC236}">
                <a16:creationId xmlns:a16="http://schemas.microsoft.com/office/drawing/2014/main" id="{AA996D23-804E-E52C-4724-FEF89AA7DAA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ACB2C209-F981-7186-D90F-B557B17436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7" name="Päivämäärän paikkamerkki 6">
            <a:extLst>
              <a:ext uri="{FF2B5EF4-FFF2-40B4-BE49-F238E27FC236}">
                <a16:creationId xmlns:a16="http://schemas.microsoft.com/office/drawing/2014/main" id="{A04EAD0E-27AD-CF63-F8BB-D7F2DDB6E6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4705A4-3BC4-4A02-A622-48CF89F7F014}" type="datetimeFigureOut">
              <a:rPr lang="fi-FI" smtClean="0"/>
              <a:t>24.1.2025</a:t>
            </a:fld>
            <a:endParaRPr lang="fi-FI"/>
          </a:p>
        </p:txBody>
      </p:sp>
      <p:sp>
        <p:nvSpPr>
          <p:cNvPr id="8" name="Alatunnisteen paikkamerkki 7">
            <a:extLst>
              <a:ext uri="{FF2B5EF4-FFF2-40B4-BE49-F238E27FC236}">
                <a16:creationId xmlns:a16="http://schemas.microsoft.com/office/drawing/2014/main" id="{BF845726-A588-D8FC-E3AE-8F92128D6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9" name="Dian numeron paikkamerkki 8">
            <a:extLst>
              <a:ext uri="{FF2B5EF4-FFF2-40B4-BE49-F238E27FC236}">
                <a16:creationId xmlns:a16="http://schemas.microsoft.com/office/drawing/2014/main" id="{F54EBFD5-26B6-6144-B5E8-47D97CE5A4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A3964B-4E8A-4E29-BBCA-B53FC6F6E4BD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63675108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6092AEDC-2E60-7DDA-A818-D64FD6E3CE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69AB44AD-7D7C-4850-1AD5-FB265A45BC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4705A4-3BC4-4A02-A622-48CF89F7F014}" type="datetimeFigureOut">
              <a:rPr lang="fi-FI" smtClean="0"/>
              <a:t>24.1.2025</a:t>
            </a:fld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B691B90E-99F6-E811-0F6A-B839C513C6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8934BE47-2724-4BA3-4532-0AB32095AB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A3964B-4E8A-4E29-BBCA-B53FC6F6E4BD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229240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1">
            <a:extLst>
              <a:ext uri="{FF2B5EF4-FFF2-40B4-BE49-F238E27FC236}">
                <a16:creationId xmlns:a16="http://schemas.microsoft.com/office/drawing/2014/main" id="{8AD14821-DC95-D45E-73C9-5F817515E2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4705A4-3BC4-4A02-A622-48CF89F7F014}" type="datetimeFigureOut">
              <a:rPr lang="fi-FI" smtClean="0"/>
              <a:t>24.1.2025</a:t>
            </a:fld>
            <a:endParaRPr lang="fi-FI"/>
          </a:p>
        </p:txBody>
      </p:sp>
      <p:sp>
        <p:nvSpPr>
          <p:cNvPr id="3" name="Alatunnisteen paikkamerkki 2">
            <a:extLst>
              <a:ext uri="{FF2B5EF4-FFF2-40B4-BE49-F238E27FC236}">
                <a16:creationId xmlns:a16="http://schemas.microsoft.com/office/drawing/2014/main" id="{DD25D3EC-E8A0-EADE-A601-C26C744E95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AD9AE52F-50E0-5131-6D64-0E9530A7D9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A3964B-4E8A-4E29-BBCA-B53FC6F6E4BD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127001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Kuvateksti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802E969C-46B1-F1CA-7E09-8C87C8AE84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4E74F650-5AFA-9A41-A358-B338684E60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EB7B90FD-14C4-949A-C1A4-E8F4703FF7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3066C054-30D4-4C02-3AD5-60BA2987F3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4705A4-3BC4-4A02-A622-48CF89F7F014}" type="datetimeFigureOut">
              <a:rPr lang="fi-FI" smtClean="0"/>
              <a:t>24.1.2025</a:t>
            </a:fld>
            <a:endParaRPr lang="fi-FI"/>
          </a:p>
        </p:txBody>
      </p:sp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3CE6B7E5-45B6-C3C0-C927-9C98BF3875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EC65FC0E-E228-B3E7-F233-1D4704FD1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A3964B-4E8A-4E29-BBCA-B53FC6F6E4BD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2185744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uvatekstilline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47852956-AE01-81C0-1ECC-41B21D9AEA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Kuvan paikkamerkki 2">
            <a:extLst>
              <a:ext uri="{FF2B5EF4-FFF2-40B4-BE49-F238E27FC236}">
                <a16:creationId xmlns:a16="http://schemas.microsoft.com/office/drawing/2014/main" id="{9FB617BE-7EE2-411A-F820-D0ACC87E029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i-FI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39E20E15-91CB-3631-B339-B0A4315E17C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8D416A22-2040-940D-0E6B-A80BF5DB01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4705A4-3BC4-4A02-A622-48CF89F7F014}" type="datetimeFigureOut">
              <a:rPr lang="fi-FI" smtClean="0"/>
              <a:t>24.1.2025</a:t>
            </a:fld>
            <a:endParaRPr lang="fi-FI"/>
          </a:p>
        </p:txBody>
      </p:sp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04E6C310-40D2-9E67-72F6-0531DFF4BE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2F940AD8-D07F-55C1-B16D-683D4E4DB1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A3964B-4E8A-4E29-BBCA-B53FC6F6E4BD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68134194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Otsikko ja pystysuor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25E2FFCB-9D2B-B033-FB2D-E7C87E90ED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Pystysuoran tekstin paikkamerkki 2">
            <a:extLst>
              <a:ext uri="{FF2B5EF4-FFF2-40B4-BE49-F238E27FC236}">
                <a16:creationId xmlns:a16="http://schemas.microsoft.com/office/drawing/2014/main" id="{5BDCBC8D-63F6-07A1-A353-B9FC75F1499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6AC51618-1A95-6122-A0EB-236414A835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4705A4-3BC4-4A02-A622-48CF89F7F014}" type="datetimeFigureOut">
              <a:rPr lang="fi-FI" smtClean="0"/>
              <a:t>24.1.2025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D3EAFE18-914D-CF47-E22A-CFB7C0B192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66AF14BD-2315-6B9F-F3AA-B3C0E92BF8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A3964B-4E8A-4E29-BBCA-B53FC6F6E4BD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4215653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Pystysuora 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ystysuora otsikko 1">
            <a:extLst>
              <a:ext uri="{FF2B5EF4-FFF2-40B4-BE49-F238E27FC236}">
                <a16:creationId xmlns:a16="http://schemas.microsoft.com/office/drawing/2014/main" id="{6105A13E-1213-4C59-EAEE-1D3902C7F01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Pystysuoran tekstin paikkamerkki 2">
            <a:extLst>
              <a:ext uri="{FF2B5EF4-FFF2-40B4-BE49-F238E27FC236}">
                <a16:creationId xmlns:a16="http://schemas.microsoft.com/office/drawing/2014/main" id="{28E91887-4AD7-6714-1B57-4378D352062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D82377FF-1EDE-F84C-3094-51A3F644A8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4705A4-3BC4-4A02-A622-48CF89F7F014}" type="datetimeFigureOut">
              <a:rPr lang="fi-FI" smtClean="0"/>
              <a:t>24.1.2025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2ABE4ED4-6EAB-668A-21B6-DADD0B19B0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EA1CC01A-440C-EE86-2941-305AA5CFFF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A3964B-4E8A-4E29-BBCA-B53FC6F6E4BD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8860041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3" descr="Kuva, joka sisältää kohteen piha-, henkilö, puu, Ihmisen kasvot&#10;&#10;Kuvaus luotu automaattisesti">
            <a:extLst>
              <a:ext uri="{FF2B5EF4-FFF2-40B4-BE49-F238E27FC236}">
                <a16:creationId xmlns:a16="http://schemas.microsoft.com/office/drawing/2014/main" id="{ECA9CF9F-3BEC-BC2E-B000-00C690BFFC8E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9861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71AB034B-6E7E-4993-86B1-F0CF3D6AA6C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86597" y="1480271"/>
            <a:ext cx="4577123" cy="2034348"/>
          </a:xfrm>
        </p:spPr>
        <p:txBody>
          <a:bodyPr vert="horz" anchor="b">
            <a:normAutofit/>
          </a:bodyPr>
          <a:lstStyle>
            <a:lvl1pPr algn="l"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Lisää otsikko napsauttamalla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FE324253-C421-4608-9A39-FF85305E87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86597" y="3785480"/>
            <a:ext cx="3993137" cy="161364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amalla</a:t>
            </a:r>
          </a:p>
        </p:txBody>
      </p:sp>
      <p:pic>
        <p:nvPicPr>
          <p:cNvPr id="5" name="Kuva 4" descr="Kuva, joka sisältää kohteen symboli, teksti, logo, Fontti&#10;&#10;Kuvaus luotu automaattisesti">
            <a:extLst>
              <a:ext uri="{FF2B5EF4-FFF2-40B4-BE49-F238E27FC236}">
                <a16:creationId xmlns:a16="http://schemas.microsoft.com/office/drawing/2014/main" id="{A388A71C-0B5D-FE1D-20EA-351F54A214E5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768" y="4823676"/>
            <a:ext cx="2641751" cy="1867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75990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3" descr="Kuva, joka sisältää kohteen Ihmisen kasvot, vaate, henkilö&#10;&#10;Kuvaus luotu automaattisesti">
            <a:extLst>
              <a:ext uri="{FF2B5EF4-FFF2-40B4-BE49-F238E27FC236}">
                <a16:creationId xmlns:a16="http://schemas.microsoft.com/office/drawing/2014/main" id="{6BDFCD33-7B84-A343-BAF2-0E0CE704D1D1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9861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71AB034B-6E7E-4993-86B1-F0CF3D6AA6C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3335" y="2471485"/>
            <a:ext cx="4577123" cy="2034348"/>
          </a:xfrm>
        </p:spPr>
        <p:txBody>
          <a:bodyPr vert="horz" anchor="b">
            <a:normAutofit/>
          </a:bodyPr>
          <a:lstStyle>
            <a:lvl1pPr algn="l"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Lisää otsikko napsauttamalla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FE324253-C421-4608-9A39-FF85305E87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3335" y="4776694"/>
            <a:ext cx="3993137" cy="161364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amalla</a:t>
            </a:r>
          </a:p>
        </p:txBody>
      </p:sp>
      <p:pic>
        <p:nvPicPr>
          <p:cNvPr id="5" name="Kuva 4" descr="Kuva, joka sisältää kohteen symboli, teksti, logo, Fontti&#10;&#10;Kuvaus luotu automaattisesti">
            <a:extLst>
              <a:ext uri="{FF2B5EF4-FFF2-40B4-BE49-F238E27FC236}">
                <a16:creationId xmlns:a16="http://schemas.microsoft.com/office/drawing/2014/main" id="{21A10983-71C6-99CE-3E68-DB231BC4119B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47785" y="183782"/>
            <a:ext cx="2641751" cy="1867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231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dia_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3" descr="Kuva, joka sisältää kohteen vaate, henkilö, Ihmisen kasvot, tussitaulu&#10;&#10;Kuvaus luotu automaattisesti">
            <a:extLst>
              <a:ext uri="{FF2B5EF4-FFF2-40B4-BE49-F238E27FC236}">
                <a16:creationId xmlns:a16="http://schemas.microsoft.com/office/drawing/2014/main" id="{BBFB459C-4C9E-79AA-8599-8D3855CC6670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9861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 descr="Kuva, joka sisältää kohteen symboli, Grafiikka, kuvakaappaus, ympyrä&#10;&#10;Kuvaus luotu automaattisesti">
            <a:extLst>
              <a:ext uri="{FF2B5EF4-FFF2-40B4-BE49-F238E27FC236}">
                <a16:creationId xmlns:a16="http://schemas.microsoft.com/office/drawing/2014/main" id="{5B8B0E4F-725E-6040-0454-DE5BA02BA4D3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67352" y="5150652"/>
            <a:ext cx="1012584" cy="1280529"/>
          </a:xfrm>
          <a:prstGeom prst="rect">
            <a:avLst/>
          </a:prstGeom>
        </p:spPr>
      </p:pic>
      <p:sp>
        <p:nvSpPr>
          <p:cNvPr id="7" name="Otsikko 1">
            <a:extLst>
              <a:ext uri="{FF2B5EF4-FFF2-40B4-BE49-F238E27FC236}">
                <a16:creationId xmlns:a16="http://schemas.microsoft.com/office/drawing/2014/main" id="{25DA7E56-7E9F-4438-05F6-AD5DF7A2076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046258" y="525181"/>
            <a:ext cx="4577123" cy="2034348"/>
          </a:xfrm>
        </p:spPr>
        <p:txBody>
          <a:bodyPr vert="horz" anchor="b">
            <a:normAutofit/>
          </a:bodyPr>
          <a:lstStyle>
            <a:lvl1pPr algn="r">
              <a:defRPr sz="44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Lisää otsikko napsauttamalla</a:t>
            </a:r>
          </a:p>
        </p:txBody>
      </p:sp>
      <p:sp>
        <p:nvSpPr>
          <p:cNvPr id="8" name="Alaotsikko 2">
            <a:extLst>
              <a:ext uri="{FF2B5EF4-FFF2-40B4-BE49-F238E27FC236}">
                <a16:creationId xmlns:a16="http://schemas.microsoft.com/office/drawing/2014/main" id="{473946C8-0A22-1895-CB41-4CEF3A8A793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30244" y="2725465"/>
            <a:ext cx="3993137" cy="1613647"/>
          </a:xfrm>
        </p:spPr>
        <p:txBody>
          <a:bodyPr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9678983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dia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3" descr="Kuva, joka sisältää kohteen vaate, henkilö, Ihmisen kasvot, mies&#10;&#10;Kuvaus luotu automaattisesti">
            <a:extLst>
              <a:ext uri="{FF2B5EF4-FFF2-40B4-BE49-F238E27FC236}">
                <a16:creationId xmlns:a16="http://schemas.microsoft.com/office/drawing/2014/main" id="{F6709054-ABA1-E916-F15A-855FDC078783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9861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 descr="Kuva, joka sisältää kohteen symboli, Grafiikka, kuvakaappaus, ympyrä&#10;&#10;Kuvaus luotu automaattisesti">
            <a:extLst>
              <a:ext uri="{FF2B5EF4-FFF2-40B4-BE49-F238E27FC236}">
                <a16:creationId xmlns:a16="http://schemas.microsoft.com/office/drawing/2014/main" id="{C9231F4E-003A-6E9B-839E-AB95C4C02763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880" y="395772"/>
            <a:ext cx="1012584" cy="1280529"/>
          </a:xfrm>
          <a:prstGeom prst="rect">
            <a:avLst/>
          </a:prstGeom>
        </p:spPr>
      </p:pic>
      <p:sp>
        <p:nvSpPr>
          <p:cNvPr id="9" name="Otsikko 1">
            <a:extLst>
              <a:ext uri="{FF2B5EF4-FFF2-40B4-BE49-F238E27FC236}">
                <a16:creationId xmlns:a16="http://schemas.microsoft.com/office/drawing/2014/main" id="{540892DA-9354-FCBF-B41F-EC7392B9442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26870" y="1655981"/>
            <a:ext cx="4577123" cy="2034348"/>
          </a:xfrm>
        </p:spPr>
        <p:txBody>
          <a:bodyPr vert="horz" anchor="b">
            <a:normAutofit/>
          </a:bodyPr>
          <a:lstStyle>
            <a:lvl1pPr algn="l"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Lisää otsikko napsauttamalla</a:t>
            </a:r>
          </a:p>
        </p:txBody>
      </p:sp>
      <p:sp>
        <p:nvSpPr>
          <p:cNvPr id="12" name="Alaotsikko 2">
            <a:extLst>
              <a:ext uri="{FF2B5EF4-FFF2-40B4-BE49-F238E27FC236}">
                <a16:creationId xmlns:a16="http://schemas.microsoft.com/office/drawing/2014/main" id="{76840615-2221-12D3-913D-15450770410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26870" y="3905907"/>
            <a:ext cx="3993137" cy="161364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113478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ags" Target="../tags/tag2.xml"/><Relationship Id="rId50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i 7" hidden="1">
            <a:extLst>
              <a:ext uri="{FF2B5EF4-FFF2-40B4-BE49-F238E27FC236}">
                <a16:creationId xmlns:a16="http://schemas.microsoft.com/office/drawing/2014/main" id="{99A5D101-E9BB-4459-960C-90D85F6203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7"/>
            </p:custDataLst>
            <p:extLst>
              <p:ext uri="{D42A27DB-BD31-4B8C-83A1-F6EECF244321}">
                <p14:modId xmlns:p14="http://schemas.microsoft.com/office/powerpoint/2010/main" val="3008327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8" imgW="421" imgH="423" progId="TCLayout.ActiveDocument.1">
                  <p:embed/>
                </p:oleObj>
              </mc:Choice>
              <mc:Fallback>
                <p:oleObj name="think-cell Slide" r:id="rId48" imgW="421" imgH="423" progId="TCLayout.ActiveDocument.1">
                  <p:embed/>
                  <p:pic>
                    <p:nvPicPr>
                      <p:cNvPr id="8" name="Objekti 7" hidden="1">
                        <a:extLst>
                          <a:ext uri="{FF2B5EF4-FFF2-40B4-BE49-F238E27FC236}">
                            <a16:creationId xmlns:a16="http://schemas.microsoft.com/office/drawing/2014/main" id="{99A5D101-E9BB-4459-960C-90D85F6203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Kuva 27">
            <a:extLst>
              <a:ext uri="{FF2B5EF4-FFF2-40B4-BE49-F238E27FC236}">
                <a16:creationId xmlns:a16="http://schemas.microsoft.com/office/drawing/2014/main" id="{E9A01564-13CB-4203-95FC-74A153B35C14}"/>
              </a:ext>
            </a:extLst>
          </p:cNvPr>
          <p:cNvPicPr>
            <a:picLocks noChangeAspect="1"/>
          </p:cNvPicPr>
          <p:nvPr userDrawn="1"/>
        </p:nvPicPr>
        <p:blipFill>
          <a:blip r:embed="rId5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C15BEBDC-D372-439D-BE3F-D0014E9F9A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fi-FI"/>
              <a:t>Muokkaa </a:t>
            </a:r>
            <a:r>
              <a:rPr lang="fi-FI" err="1"/>
              <a:t>ots</a:t>
            </a:r>
            <a:r>
              <a:rPr lang="fi-FI"/>
              <a:t>.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04B3C6A2-8A7D-4D37-85A3-E38FFE7580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64B6028D-345E-4983-9377-3B51E8C6D9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06113" y="18739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33DB1DC-11BF-4585-868B-306EA823E62F}" type="datetime1">
              <a:rPr lang="fi-FI" smtClean="0"/>
              <a:t>24.1.2025</a:t>
            </a:fld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7F7B2924-DE79-4005-AE54-8E1CC0EEDC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06113" y="63119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6B37718-6688-4F18-A3A4-5BFEA6AE51A8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9948807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60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673" r:id="rId11"/>
    <p:sldLayoutId id="2147483711" r:id="rId12"/>
    <p:sldLayoutId id="2147483649" r:id="rId13"/>
    <p:sldLayoutId id="2147483650" r:id="rId14"/>
    <p:sldLayoutId id="2147483675" r:id="rId15"/>
    <p:sldLayoutId id="2147483652" r:id="rId16"/>
    <p:sldLayoutId id="2147483676" r:id="rId17"/>
    <p:sldLayoutId id="2147483651" r:id="rId18"/>
    <p:sldLayoutId id="2147483679" r:id="rId19"/>
    <p:sldLayoutId id="2147483680" r:id="rId20"/>
    <p:sldLayoutId id="2147483681" r:id="rId21"/>
    <p:sldLayoutId id="2147483682" r:id="rId22"/>
    <p:sldLayoutId id="2147483656" r:id="rId23"/>
    <p:sldLayoutId id="2147483677" r:id="rId24"/>
    <p:sldLayoutId id="2147483678" r:id="rId25"/>
    <p:sldLayoutId id="2147483683" r:id="rId26"/>
    <p:sldLayoutId id="2147483684" r:id="rId27"/>
    <p:sldLayoutId id="2147483685" r:id="rId28"/>
    <p:sldLayoutId id="2147483686" r:id="rId29"/>
    <p:sldLayoutId id="2147483687" r:id="rId30"/>
    <p:sldLayoutId id="2147483688" r:id="rId31"/>
    <p:sldLayoutId id="2147483689" r:id="rId32"/>
    <p:sldLayoutId id="2147483690" r:id="rId33"/>
    <p:sldLayoutId id="2147483691" r:id="rId34"/>
    <p:sldLayoutId id="2147483692" r:id="rId35"/>
    <p:sldLayoutId id="2147483693" r:id="rId36"/>
    <p:sldLayoutId id="2147483694" r:id="rId37"/>
    <p:sldLayoutId id="2147483695" r:id="rId38"/>
    <p:sldLayoutId id="2147483696" r:id="rId39"/>
    <p:sldLayoutId id="2147483697" r:id="rId40"/>
    <p:sldLayoutId id="2147483698" r:id="rId41"/>
    <p:sldLayoutId id="2147483699" r:id="rId42"/>
    <p:sldLayoutId id="2147483702" r:id="rId43"/>
    <p:sldLayoutId id="2147483700" r:id="rId44"/>
    <p:sldLayoutId id="2147483701" r:id="rId45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i-FI" sz="3600" b="1" kern="1200" dirty="0" smtClean="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E6A1C99C-D16D-AFEB-85E2-9990AEA292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6CD9020A-8773-2834-0921-D3E7339A7D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615F63B3-B642-A1E5-FFFC-E26DF705B8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C4705A4-3BC4-4A02-A622-48CF89F7F014}" type="datetimeFigureOut">
              <a:rPr lang="fi-FI" smtClean="0"/>
              <a:t>24.1.2025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BB816F6F-5C12-66E5-5033-16398712C5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1FA446D8-2901-0EE2-FBE9-A1EB23D852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2A3964B-4E8A-4E29-BBCA-B53FC6F6E4BD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5998387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4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4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4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4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4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4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47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48.jpe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4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4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E42B56-5F40-16DC-4092-8E5E889319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i-FI">
                <a:latin typeface="Montserrat" panose="00000500000000000000" pitchFamily="2" charset="0"/>
              </a:rPr>
              <a:t>Lähetysseuran</a:t>
            </a:r>
            <a:br>
              <a:rPr lang="fi-FI">
                <a:latin typeface="Montserrat" panose="00000500000000000000" pitchFamily="2" charset="0"/>
              </a:rPr>
            </a:br>
            <a:r>
              <a:rPr lang="fi-FI">
                <a:latin typeface="Montserrat" panose="00000500000000000000" pitchFamily="2" charset="0"/>
              </a:rPr>
              <a:t>strategia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DE5BE9A-CB46-0BA8-51EE-DF63653E0DB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i-FI">
                <a:latin typeface="Montserrat" panose="00000500000000000000" pitchFamily="2" charset="0"/>
              </a:rPr>
              <a:t>Suomen Lähetysseura 2024</a:t>
            </a:r>
          </a:p>
        </p:txBody>
      </p:sp>
    </p:spTree>
    <p:extLst>
      <p:ext uri="{BB962C8B-B14F-4D97-AF65-F5344CB8AC3E}">
        <p14:creationId xmlns:p14="http://schemas.microsoft.com/office/powerpoint/2010/main" val="33457646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8" name="Rectangle 17">
            <a:extLst>
              <a:ext uri="{FF2B5EF4-FFF2-40B4-BE49-F238E27FC236}">
                <a16:creationId xmlns:a16="http://schemas.microsoft.com/office/drawing/2014/main" id="{04812C46-200A-4DEB-A05E-3ED6C68C23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9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6" name="Picture 7">
            <a:extLst>
              <a:ext uri="{FF2B5EF4-FFF2-40B4-BE49-F238E27FC236}">
                <a16:creationId xmlns:a16="http://schemas.microsoft.com/office/drawing/2014/main" id="{51B33EE1-10D7-52DE-1FE0-EE03D908E3D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22358" y="0"/>
            <a:ext cx="9669642" cy="685799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D1EA859B-E555-4109-94F3-6700E046E0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7390263" cy="6858000"/>
          </a:xfrm>
          <a:prstGeom prst="rect">
            <a:avLst/>
          </a:prstGeom>
          <a:gradFill>
            <a:gsLst>
              <a:gs pos="48000">
                <a:schemeClr val="bg1"/>
              </a:gs>
              <a:gs pos="35000">
                <a:schemeClr val="bg1">
                  <a:alpha val="77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9AC70127-EC6F-C125-12D0-37C56E996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839586" cy="1899912"/>
          </a:xfrm>
        </p:spPr>
        <p:txBody>
          <a:bodyPr>
            <a:normAutofit/>
          </a:bodyPr>
          <a:lstStyle/>
          <a:p>
            <a:r>
              <a:rPr lang="fi-FI" sz="4000">
                <a:latin typeface="Montserrat" panose="00000500000000000000" pitchFamily="2" charset="0"/>
                <a:cs typeface="Arial" panose="020B0604020202020204" pitchFamily="34" charset="0"/>
              </a:rPr>
              <a:t>Miten pääsemme tavoitteisiimme?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09EC6FB1-24CA-E5CF-1838-BFD7A49F2E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2100943"/>
            <a:ext cx="5116287" cy="3906856"/>
          </a:xfrm>
        </p:spPr>
        <p:txBody>
          <a:bodyPr>
            <a:noAutofit/>
          </a:bodyPr>
          <a:lstStyle/>
          <a:p>
            <a:r>
              <a:rPr lang="fi-FI" sz="1800" b="0" i="0" dirty="0">
                <a:effectLst/>
                <a:latin typeface="Montserrat" panose="00000500000000000000" pitchFamily="2" charset="0"/>
                <a:cs typeface="Arial" panose="020B0604020202020204" pitchFamily="34" charset="0"/>
              </a:rPr>
              <a:t>Lähetysseuran ja kumppanien voimavarat vahvistuvat</a:t>
            </a:r>
          </a:p>
          <a:p>
            <a:r>
              <a:rPr lang="fi-FI" sz="1800" dirty="0" err="1">
                <a:latin typeface="Montserrat" panose="00000500000000000000" pitchFamily="2" charset="0"/>
                <a:cs typeface="Arial" panose="020B0604020202020204" pitchFamily="34" charset="0"/>
              </a:rPr>
              <a:t>Ý</a:t>
            </a:r>
            <a:r>
              <a:rPr lang="fi-FI" sz="1800" b="0" i="0" dirty="0" err="1">
                <a:effectLst/>
                <a:latin typeface="Montserrat" panose="00000500000000000000" pitchFamily="2" charset="0"/>
                <a:cs typeface="Arial" panose="020B0604020202020204" pitchFamily="34" charset="0"/>
              </a:rPr>
              <a:t>hteinen</a:t>
            </a:r>
            <a:r>
              <a:rPr lang="fi-FI" sz="1800" b="0" i="0" dirty="0">
                <a:effectLst/>
                <a:latin typeface="Montserrat" panose="00000500000000000000" pitchFamily="2" charset="0"/>
                <a:cs typeface="Arial" panose="020B0604020202020204" pitchFamily="34" charset="0"/>
              </a:rPr>
              <a:t> tekeminen syventyy osana ekumeenisia verkostoja</a:t>
            </a:r>
          </a:p>
          <a:p>
            <a:r>
              <a:rPr lang="fi-FI" sz="1800" b="0" i="0" dirty="0">
                <a:effectLst/>
                <a:latin typeface="Montserrat" panose="00000500000000000000" pitchFamily="2" charset="0"/>
                <a:cs typeface="Arial" panose="020B0604020202020204" pitchFamily="34" charset="0"/>
              </a:rPr>
              <a:t>Seurakuntia, seurakuntalaisia ja työmme tukijoita kuullaan säännöllisesti ja toimintaa kehitetään yhdessä</a:t>
            </a:r>
          </a:p>
          <a:p>
            <a:pPr algn="l" rtl="0" fontAlgn="base"/>
            <a:r>
              <a:rPr lang="fi-FI" sz="1800" b="0" i="0" dirty="0">
                <a:effectLst/>
                <a:latin typeface="Montserrat" panose="00000500000000000000" pitchFamily="2" charset="0"/>
                <a:cs typeface="Arial" panose="020B0604020202020204" pitchFamily="34" charset="0"/>
              </a:rPr>
              <a:t>Johtaminen ja organisaatiokulttuuri tukevat yhteistä tekemistä</a:t>
            </a:r>
          </a:p>
          <a:p>
            <a:pPr algn="l" rtl="0" fontAlgn="base"/>
            <a:r>
              <a:rPr lang="fi-FI" sz="1800" b="0" i="0" dirty="0">
                <a:effectLst/>
                <a:latin typeface="Montserrat" panose="00000500000000000000" pitchFamily="2" charset="0"/>
                <a:cs typeface="Arial" panose="020B0604020202020204" pitchFamily="34" charset="0"/>
              </a:rPr>
              <a:t>Organisaation toimintatavat ja digitaaliset palvelut vastaavat muuttuviin tarpeisiin</a:t>
            </a:r>
          </a:p>
          <a:p>
            <a:pPr fontAlgn="base"/>
            <a:r>
              <a:rPr lang="fi-FI" sz="1800" b="0" i="0" dirty="0">
                <a:effectLst/>
                <a:latin typeface="Montserrat" panose="00000500000000000000" pitchFamily="2" charset="0"/>
                <a:cs typeface="Arial" panose="020B0604020202020204" pitchFamily="34" charset="0"/>
              </a:rPr>
              <a:t>Ammatillisesti kehittyvä, strategisiin tarpeisiin vastaava ja hyvinvoiva henkilöstö</a:t>
            </a:r>
          </a:p>
          <a:p>
            <a:pPr marL="0" indent="0" algn="l" rtl="0" fontAlgn="base">
              <a:buNone/>
            </a:pPr>
            <a:r>
              <a:rPr lang="fi-FI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5" name="Kuva 4" descr="Kuva, joka sisältää kohteen symboli, teksti, logo, Fontti&#10;&#10;Kuvaus luotu automaattisesti">
            <a:extLst>
              <a:ext uri="{FF2B5EF4-FFF2-40B4-BE49-F238E27FC236}">
                <a16:creationId xmlns:a16="http://schemas.microsoft.com/office/drawing/2014/main" id="{EC9995BD-EB66-6E61-E78F-5753AE3E48D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8224" y="5163620"/>
            <a:ext cx="2431153" cy="1718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41953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8" name="Rectangle 17">
            <a:extLst>
              <a:ext uri="{FF2B5EF4-FFF2-40B4-BE49-F238E27FC236}">
                <a16:creationId xmlns:a16="http://schemas.microsoft.com/office/drawing/2014/main" id="{04812C46-200A-4DEB-A05E-3ED6C68C23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9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6" name="Picture 7">
            <a:extLst>
              <a:ext uri="{FF2B5EF4-FFF2-40B4-BE49-F238E27FC236}">
                <a16:creationId xmlns:a16="http://schemas.microsoft.com/office/drawing/2014/main" id="{51B33EE1-10D7-52DE-1FE0-EE03D908E3D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5861" y="10"/>
            <a:ext cx="9669642" cy="685799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D1EA859B-E555-4109-94F3-6700E046E0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7390263" cy="6858000"/>
          </a:xfrm>
          <a:prstGeom prst="rect">
            <a:avLst/>
          </a:prstGeom>
          <a:gradFill>
            <a:gsLst>
              <a:gs pos="48000">
                <a:schemeClr val="bg1"/>
              </a:gs>
              <a:gs pos="35000">
                <a:schemeClr val="bg1">
                  <a:alpha val="77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9AC70127-EC6F-C125-12D0-37C56E996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441371" cy="1899912"/>
          </a:xfrm>
        </p:spPr>
        <p:txBody>
          <a:bodyPr>
            <a:normAutofit/>
          </a:bodyPr>
          <a:lstStyle/>
          <a:p>
            <a:r>
              <a:rPr lang="fi-FI" sz="4000">
                <a:latin typeface="Montserrat" panose="00000500000000000000" pitchFamily="2" charset="0"/>
                <a:cs typeface="Arial" panose="020B0604020202020204" pitchFamily="34" charset="0"/>
              </a:rPr>
              <a:t>Strategiset kehityshankkeet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09EC6FB1-24CA-E5CF-1838-BFD7A49F2E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100943"/>
            <a:ext cx="4234544" cy="3906856"/>
          </a:xfrm>
        </p:spPr>
        <p:txBody>
          <a:bodyPr>
            <a:noAutofit/>
          </a:bodyPr>
          <a:lstStyle/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fi-FI" sz="1800" b="1">
                <a:effectLst/>
                <a:latin typeface="Montserrat" panose="00000500000000000000" pitchFamily="2" charset="0"/>
                <a:ea typeface="Calibri" panose="020F0502020204030204" pitchFamily="34" charset="0"/>
                <a:cs typeface="Arial" panose="020B0604020202020204" pitchFamily="34" charset="0"/>
              </a:rPr>
              <a:t>Uudenlaiset kumppanuus- ja verkostomallit, </a:t>
            </a:r>
            <a:r>
              <a:rPr lang="fi-FI" sz="1800">
                <a:effectLst/>
                <a:latin typeface="Montserrat" panose="00000500000000000000" pitchFamily="2" charset="0"/>
                <a:ea typeface="Calibri" panose="020F0502020204030204" pitchFamily="34" charset="0"/>
                <a:cs typeface="Arial" panose="020B0604020202020204" pitchFamily="34" charset="0"/>
              </a:rPr>
              <a:t>jotka syventävät vuorovaikutusta ja yhteistä oppimista 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fi-FI" sz="1800">
                <a:effectLst/>
                <a:latin typeface="Montserrat" panose="00000500000000000000" pitchFamily="2" charset="0"/>
                <a:ea typeface="Calibri" panose="020F0502020204030204" pitchFamily="34" charset="0"/>
                <a:cs typeface="Arial" panose="020B0604020202020204" pitchFamily="34" charset="0"/>
              </a:rPr>
              <a:t>Lähetysseuran ja sen kumppaneiden </a:t>
            </a:r>
            <a:r>
              <a:rPr lang="fi-FI" sz="1800" b="1">
                <a:effectLst/>
                <a:latin typeface="Montserrat" panose="00000500000000000000" pitchFamily="2" charset="0"/>
                <a:ea typeface="Calibri" panose="020F0502020204030204" pitchFamily="34" charset="0"/>
                <a:cs typeface="Arial" panose="020B0604020202020204" pitchFamily="34" charset="0"/>
              </a:rPr>
              <a:t>tulonlähteiden monipuolistaminen </a:t>
            </a:r>
            <a:r>
              <a:rPr lang="fi-FI" sz="1800">
                <a:effectLst/>
                <a:latin typeface="Montserrat" panose="00000500000000000000" pitchFamily="2" charset="0"/>
                <a:ea typeface="Calibri" panose="020F0502020204030204" pitchFamily="34" charset="0"/>
                <a:cs typeface="Arial" panose="020B0604020202020204" pitchFamily="34" charset="0"/>
              </a:rPr>
              <a:t>ja kasvattaminen hallitusti taloudellisen kestävyyden varmistamiseksi ja työn laajentamiseksi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fi-FI" sz="1800" b="1">
                <a:effectLst/>
                <a:latin typeface="Montserrat" panose="00000500000000000000" pitchFamily="2" charset="0"/>
                <a:ea typeface="Calibri" panose="020F0502020204030204" pitchFamily="34" charset="0"/>
                <a:cs typeface="Arial" panose="020B0604020202020204" pitchFamily="34" charset="0"/>
              </a:rPr>
              <a:t>Tiedolla johtamisen vahvistaminen ja tekoälyn hyödyntäminen </a:t>
            </a:r>
            <a:r>
              <a:rPr lang="fi-FI" sz="1800">
                <a:effectLst/>
                <a:latin typeface="Montserrat" panose="00000500000000000000" pitchFamily="2" charset="0"/>
                <a:ea typeface="Calibri" panose="020F0502020204030204" pitchFamily="34" charset="0"/>
                <a:cs typeface="Arial" panose="020B0604020202020204" pitchFamily="34" charset="0"/>
              </a:rPr>
              <a:t>päätöksenteon vahvistamiseksi ja toiminnan tehostamiseksi</a:t>
            </a:r>
          </a:p>
          <a:p>
            <a:pPr marL="0" indent="0" algn="l" rtl="0" fontAlgn="base">
              <a:buNone/>
            </a:pPr>
            <a:r>
              <a:rPr lang="fi-FI" sz="1800">
                <a:latin typeface="Montserrat" panose="00000500000000000000" pitchFamily="2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4" name="Kuva 3" descr="Kuva, joka sisältää kohteen symboli, teksti, logo, Fontti&#10;&#10;Kuvaus luotu automaattisesti">
            <a:extLst>
              <a:ext uri="{FF2B5EF4-FFF2-40B4-BE49-F238E27FC236}">
                <a16:creationId xmlns:a16="http://schemas.microsoft.com/office/drawing/2014/main" id="{23D50BB0-98CA-B6B5-8D1F-9F30CA10B22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28176" y="5139168"/>
            <a:ext cx="2431153" cy="1718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53375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68926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8" name="Rectangle 17">
            <a:extLst>
              <a:ext uri="{FF2B5EF4-FFF2-40B4-BE49-F238E27FC236}">
                <a16:creationId xmlns:a16="http://schemas.microsoft.com/office/drawing/2014/main" id="{04812C46-200A-4DEB-A05E-3ED6C68C23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9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6" name="Picture 7">
            <a:extLst>
              <a:ext uri="{FF2B5EF4-FFF2-40B4-BE49-F238E27FC236}">
                <a16:creationId xmlns:a16="http://schemas.microsoft.com/office/drawing/2014/main" id="{51B33EE1-10D7-52DE-1FE0-EE03D908E3D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14029" y="-42428"/>
            <a:ext cx="7977971" cy="685799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D1EA859B-E555-4109-94F3-6700E046E0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7390263" cy="6858000"/>
          </a:xfrm>
          <a:prstGeom prst="rect">
            <a:avLst/>
          </a:prstGeom>
          <a:gradFill>
            <a:gsLst>
              <a:gs pos="48000">
                <a:schemeClr val="bg1"/>
              </a:gs>
              <a:gs pos="35000">
                <a:schemeClr val="bg1">
                  <a:alpha val="77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9AC70127-EC6F-C125-12D0-37C56E996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1519" y="103868"/>
            <a:ext cx="4061675" cy="1899912"/>
          </a:xfrm>
        </p:spPr>
        <p:txBody>
          <a:bodyPr>
            <a:normAutofit/>
          </a:bodyPr>
          <a:lstStyle/>
          <a:p>
            <a:r>
              <a:rPr lang="fi-FI" sz="4000">
                <a:latin typeface="Montserrat" panose="00000500000000000000" pitchFamily="2" charset="0"/>
                <a:cs typeface="Arial" panose="020B0604020202020204" pitchFamily="34" charset="0"/>
              </a:rPr>
              <a:t>Lähetysseuran tehtävä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09EC6FB1-24CA-E5CF-1838-BFD7A49F2E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231" y="1926771"/>
            <a:ext cx="6324600" cy="3776228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fi-FI" sz="2400">
                <a:effectLst/>
                <a:latin typeface="Montserrat" panose="00000500000000000000" pitchFamily="2" charset="0"/>
                <a:ea typeface="Times New Roman" panose="02020603050405020304" pitchFamily="18" charset="0"/>
                <a:cs typeface="Arial" panose="020B0604020202020204" pitchFamily="34" charset="0"/>
              </a:rPr>
              <a:t>Lähetystyö on Jeesuksen antama tehtävä kirkolle ja jokaiselle kristitylle.</a:t>
            </a:r>
          </a:p>
          <a:p>
            <a:r>
              <a:rPr lang="fi-FI" sz="2400">
                <a:latin typeface="Montserrat"/>
                <a:cs typeface="Arial"/>
              </a:rPr>
              <a:t>Evankeliumi kutsuu Kristuksen seuraamiseen ja ikuiseen elämään. Samalla se kutsuu toimimaan haavoittuvassa asemassa olevien rinnalla. </a:t>
            </a:r>
          </a:p>
          <a:p>
            <a:r>
              <a:rPr lang="fi-FI" sz="2400">
                <a:latin typeface="Montserrat" panose="00000500000000000000" pitchFamily="2" charset="0"/>
                <a:cs typeface="Arial" panose="020B0604020202020204" pitchFamily="34" charset="0"/>
              </a:rPr>
              <a:t>Lähetystyö on siis kokonaisvaltaista: siihen kuuluu evankeliumin julistaminen ja oikeuden-mukaisuuden edistäminen.</a:t>
            </a:r>
          </a:p>
          <a:p>
            <a:pPr marL="0" indent="0">
              <a:buNone/>
            </a:pPr>
            <a:endParaRPr lang="fi-FI" sz="2400">
              <a:latin typeface="Montserrat"/>
              <a:cs typeface="Arial"/>
            </a:endParaRPr>
          </a:p>
        </p:txBody>
      </p:sp>
      <p:pic>
        <p:nvPicPr>
          <p:cNvPr id="7" name="Kuva 6" descr="Kuva, joka sisältää kohteen symboli, teksti, logo, Fontti&#10;&#10;Kuvaus luotu automaattisesti">
            <a:extLst>
              <a:ext uri="{FF2B5EF4-FFF2-40B4-BE49-F238E27FC236}">
                <a16:creationId xmlns:a16="http://schemas.microsoft.com/office/drawing/2014/main" id="{36DBBA2F-A13D-D223-A59F-5148AEC299E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4483" y="5139178"/>
            <a:ext cx="2431153" cy="1718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74176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2" name="Rectangle 31">
            <a:extLst>
              <a:ext uri="{FF2B5EF4-FFF2-40B4-BE49-F238E27FC236}">
                <a16:creationId xmlns:a16="http://schemas.microsoft.com/office/drawing/2014/main" id="{04812C46-200A-4DEB-A05E-3ED6C68C23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7">
            <a:extLst>
              <a:ext uri="{FF2B5EF4-FFF2-40B4-BE49-F238E27FC236}">
                <a16:creationId xmlns:a16="http://schemas.microsoft.com/office/drawing/2014/main" id="{51B33EE1-10D7-52DE-1FE0-EE03D908E3D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669642" cy="6858000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D1EA859B-E555-4109-94F3-6700E046E0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5125019" y="0"/>
            <a:ext cx="7066978" cy="6858000"/>
          </a:xfrm>
          <a:prstGeom prst="rect">
            <a:avLst/>
          </a:prstGeom>
          <a:gradFill>
            <a:gsLst>
              <a:gs pos="48000">
                <a:schemeClr val="bg1"/>
              </a:gs>
              <a:gs pos="35000">
                <a:schemeClr val="bg1">
                  <a:alpha val="77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09EC6FB1-24CA-E5CF-1838-BFD7A49F2E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68487" y="541088"/>
            <a:ext cx="8239542" cy="1864656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buNone/>
            </a:pPr>
            <a:r>
              <a:rPr lang="fi-FI" sz="4000" b="1" kern="100">
                <a:latin typeface="Montserrat"/>
                <a:ea typeface="Aptos" panose="020B0004020202020204" pitchFamily="34" charset="0"/>
                <a:cs typeface="Arial"/>
              </a:rPr>
              <a:t>Tavoitteenamme on</a:t>
            </a:r>
            <a:r>
              <a:rPr lang="fi-FI" sz="4000" b="1" kern="100">
                <a:effectLst/>
                <a:latin typeface="Montserrat"/>
                <a:ea typeface="Aptos" panose="020B0004020202020204" pitchFamily="34" charset="0"/>
                <a:cs typeface="Arial"/>
              </a:rPr>
              <a:t> uskon, </a:t>
            </a:r>
            <a:r>
              <a:rPr lang="fi-FI" sz="4000" b="1" kern="100">
                <a:latin typeface="Montserrat"/>
                <a:ea typeface="Aptos" panose="020B0004020202020204" pitchFamily="34" charset="0"/>
                <a:cs typeface="Arial"/>
              </a:rPr>
              <a:t>toivon ja</a:t>
            </a:r>
            <a:r>
              <a:rPr lang="fi-FI" sz="4000" b="1" kern="100">
                <a:effectLst/>
                <a:latin typeface="Montserrat"/>
                <a:ea typeface="Aptos" panose="020B0004020202020204" pitchFamily="34" charset="0"/>
                <a:cs typeface="Arial"/>
              </a:rPr>
              <a:t> rakkauden </a:t>
            </a:r>
            <a:r>
              <a:rPr lang="fi-FI" sz="4000" b="1" kern="100">
                <a:latin typeface="Montserrat"/>
                <a:ea typeface="Aptos" panose="020B0004020202020204" pitchFamily="34" charset="0"/>
                <a:cs typeface="Arial"/>
              </a:rPr>
              <a:t>vahvistuminen</a:t>
            </a:r>
            <a:r>
              <a:rPr lang="fi-FI" sz="4000" b="1" kern="100">
                <a:effectLst/>
                <a:latin typeface="Montserrat"/>
                <a:ea typeface="Aptos" panose="020B0004020202020204" pitchFamily="34" charset="0"/>
                <a:cs typeface="Arial"/>
              </a:rPr>
              <a:t> maailmassa </a:t>
            </a:r>
          </a:p>
          <a:p>
            <a:pPr marL="0" indent="0">
              <a:buNone/>
            </a:pPr>
            <a:r>
              <a:rPr lang="fi-FI" sz="4000" kern="100">
                <a:latin typeface="Montserrat" panose="00000500000000000000" pitchFamily="2" charset="0"/>
                <a:ea typeface="Aptos" panose="020B0004020202020204" pitchFamily="34" charset="0"/>
                <a:cs typeface="Arial" panose="020B0604020202020204" pitchFamily="34" charset="0"/>
              </a:rPr>
              <a:t>				</a:t>
            </a:r>
            <a:endParaRPr lang="fi-FI" sz="4000" kern="100">
              <a:effectLst/>
              <a:latin typeface="Montserrat" panose="00000500000000000000" pitchFamily="2" charset="0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kstiruutu 1">
            <a:extLst>
              <a:ext uri="{FF2B5EF4-FFF2-40B4-BE49-F238E27FC236}">
                <a16:creationId xmlns:a16="http://schemas.microsoft.com/office/drawing/2014/main" id="{B046A089-BDCE-DEAA-942B-1740BB40C18A}"/>
              </a:ext>
            </a:extLst>
          </p:cNvPr>
          <p:cNvSpPr txBox="1"/>
          <p:nvPr/>
        </p:nvSpPr>
        <p:spPr>
          <a:xfrm>
            <a:off x="9002486" y="2830286"/>
            <a:ext cx="2917371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2400" kern="100">
                <a:effectLst/>
                <a:latin typeface="Montserrat" panose="000005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Tehtävämme on </a:t>
            </a:r>
            <a:r>
              <a:rPr lang="fi-FI" sz="2400" b="1" kern="100">
                <a:effectLst/>
                <a:latin typeface="Montserrat" panose="000005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todistaa Jumalan rakkaudesta sanoin ja teoin</a:t>
            </a:r>
            <a:r>
              <a:rPr lang="fi-FI" sz="2400" kern="100">
                <a:effectLst/>
                <a:latin typeface="Montserrat" panose="000005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, toimia Jumalan käsinä ja jalkoina maan päällä.</a:t>
            </a:r>
            <a:endParaRPr lang="fi-FI" sz="2400" kern="100">
              <a:effectLst/>
              <a:latin typeface="Montserrat" panose="00000500000000000000" pitchFamily="2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endParaRPr lang="fi-FI"/>
          </a:p>
        </p:txBody>
      </p:sp>
      <p:pic>
        <p:nvPicPr>
          <p:cNvPr id="5" name="Kuva 4" descr="Kuva, joka sisältää kohteen symboli, teksti, logo, Fontti&#10;&#10;Kuvaus luotu automaattisesti">
            <a:extLst>
              <a:ext uri="{FF2B5EF4-FFF2-40B4-BE49-F238E27FC236}">
                <a16:creationId xmlns:a16="http://schemas.microsoft.com/office/drawing/2014/main" id="{2BD1AD91-320C-790E-45F6-7C7A40C0FED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53875" y="5139178"/>
            <a:ext cx="2431153" cy="1718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57456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2" name="Rectangle 31">
            <a:extLst>
              <a:ext uri="{FF2B5EF4-FFF2-40B4-BE49-F238E27FC236}">
                <a16:creationId xmlns:a16="http://schemas.microsoft.com/office/drawing/2014/main" id="{04812C46-200A-4DEB-A05E-3ED6C68C23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7">
            <a:extLst>
              <a:ext uri="{FF2B5EF4-FFF2-40B4-BE49-F238E27FC236}">
                <a16:creationId xmlns:a16="http://schemas.microsoft.com/office/drawing/2014/main" id="{51B33EE1-10D7-52DE-1FE0-EE03D908E3D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669642" cy="6858000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D1EA859B-E555-4109-94F3-6700E046E0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5125019" y="0"/>
            <a:ext cx="7066978" cy="6858000"/>
          </a:xfrm>
          <a:prstGeom prst="rect">
            <a:avLst/>
          </a:prstGeom>
          <a:gradFill>
            <a:gsLst>
              <a:gs pos="48000">
                <a:schemeClr val="bg1"/>
              </a:gs>
              <a:gs pos="35000">
                <a:schemeClr val="bg1">
                  <a:alpha val="77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09EC6FB1-24CA-E5CF-1838-BFD7A49F2E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68487" y="297272"/>
            <a:ext cx="8239542" cy="1864656"/>
          </a:xfrm>
        </p:spPr>
        <p:txBody>
          <a:bodyPr>
            <a:noAutofit/>
          </a:bodyPr>
          <a:lstStyle/>
          <a:p>
            <a:pPr marL="0" lvl="0" indent="0">
              <a:buNone/>
            </a:pPr>
            <a:r>
              <a:rPr lang="fi-FI" sz="4000" b="1">
                <a:solidFill>
                  <a:srgbClr val="000000"/>
                </a:solidFill>
                <a:effectLst/>
                <a:latin typeface="Montserrat" panose="000005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Työn ytimessä: kirkot ja haavoittuvassa asemassa elävät ihmiset </a:t>
            </a:r>
            <a:r>
              <a:rPr lang="fi-FI" sz="4000" kern="100">
                <a:latin typeface="Montserrat" panose="00000500000000000000" pitchFamily="2" charset="0"/>
                <a:ea typeface="Aptos" panose="020B0004020202020204" pitchFamily="34" charset="0"/>
                <a:cs typeface="Arial" panose="020B0604020202020204" pitchFamily="34" charset="0"/>
              </a:rPr>
              <a:t>				</a:t>
            </a:r>
            <a:endParaRPr lang="fi-FI" sz="4000" kern="100">
              <a:effectLst/>
              <a:latin typeface="Montserrat" panose="00000500000000000000" pitchFamily="2" charset="0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kstiruutu 1">
            <a:extLst>
              <a:ext uri="{FF2B5EF4-FFF2-40B4-BE49-F238E27FC236}">
                <a16:creationId xmlns:a16="http://schemas.microsoft.com/office/drawing/2014/main" id="{B046A089-BDCE-DEAA-942B-1740BB40C18A}"/>
              </a:ext>
            </a:extLst>
          </p:cNvPr>
          <p:cNvSpPr txBox="1"/>
          <p:nvPr/>
        </p:nvSpPr>
        <p:spPr>
          <a:xfrm>
            <a:off x="8458200" y="2405744"/>
            <a:ext cx="3614057" cy="378565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fi-FI" sz="2400">
                <a:effectLst/>
                <a:latin typeface="Montserrat"/>
                <a:ea typeface="Aptos" panose="020B0004020202020204" pitchFamily="34" charset="0"/>
                <a:cs typeface="Times New Roman"/>
              </a:rPr>
              <a:t>Vahvistamme vähemmistöasemassa olevia luterilaisia </a:t>
            </a:r>
            <a:r>
              <a:rPr lang="fi-FI" sz="2400" b="1">
                <a:effectLst/>
                <a:latin typeface="Montserrat"/>
                <a:ea typeface="Aptos" panose="020B0004020202020204" pitchFamily="34" charset="0"/>
                <a:cs typeface="Times New Roman"/>
              </a:rPr>
              <a:t>kirkkoja toimimaan </a:t>
            </a:r>
            <a:r>
              <a:rPr lang="fi-FI" sz="2400">
                <a:effectLst/>
                <a:latin typeface="Montserrat"/>
                <a:ea typeface="Aptos" panose="020B0004020202020204" pitchFamily="34" charset="0"/>
                <a:cs typeface="Times New Roman"/>
              </a:rPr>
              <a:t>ja tuemme </a:t>
            </a:r>
            <a:r>
              <a:rPr lang="fi-FI" sz="2400" b="1">
                <a:effectLst/>
                <a:latin typeface="Montserrat"/>
                <a:ea typeface="Aptos" panose="020B0004020202020204" pitchFamily="34" charset="0"/>
                <a:cs typeface="Times New Roman"/>
              </a:rPr>
              <a:t>yhteisöjä</a:t>
            </a:r>
            <a:r>
              <a:rPr lang="fi-FI" sz="2400">
                <a:effectLst/>
                <a:latin typeface="Montserrat"/>
                <a:ea typeface="Aptos" panose="020B0004020202020204" pitchFamily="34" charset="0"/>
                <a:cs typeface="Times New Roman"/>
              </a:rPr>
              <a:t> kasvamaan </a:t>
            </a:r>
            <a:r>
              <a:rPr lang="fi-FI" sz="2400" b="1">
                <a:effectLst/>
                <a:latin typeface="Montserrat"/>
                <a:ea typeface="Aptos" panose="020B0004020202020204" pitchFamily="34" charset="0"/>
                <a:cs typeface="Times New Roman"/>
              </a:rPr>
              <a:t>kestäviksi ja hyvinvoiviksi</a:t>
            </a:r>
            <a:r>
              <a:rPr lang="fi-FI" sz="2400">
                <a:effectLst/>
                <a:latin typeface="Montserrat"/>
                <a:ea typeface="Aptos" panose="020B0004020202020204" pitchFamily="34" charset="0"/>
                <a:cs typeface="Times New Roman"/>
              </a:rPr>
              <a:t>. Teemme työtä </a:t>
            </a:r>
            <a:r>
              <a:rPr lang="fi-FI" sz="2400">
                <a:latin typeface="Montserrat"/>
                <a:ea typeface="Aptos" panose="020B0004020202020204" pitchFamily="34" charset="0"/>
                <a:cs typeface="Times New Roman"/>
              </a:rPr>
              <a:t>yhdessä</a:t>
            </a:r>
            <a:r>
              <a:rPr lang="fi-FI" sz="2400">
                <a:effectLst/>
                <a:latin typeface="Montserrat"/>
                <a:ea typeface="Aptos" panose="020B0004020202020204" pitchFamily="34" charset="0"/>
                <a:cs typeface="Times New Roman"/>
              </a:rPr>
              <a:t> </a:t>
            </a:r>
            <a:r>
              <a:rPr lang="fi-FI" sz="2400" b="1">
                <a:effectLst/>
                <a:latin typeface="Montserrat"/>
                <a:ea typeface="Aptos" panose="020B0004020202020204" pitchFamily="34" charset="0"/>
                <a:cs typeface="Times New Roman"/>
              </a:rPr>
              <a:t>kumppanien</a:t>
            </a:r>
            <a:r>
              <a:rPr lang="fi-FI" sz="2400">
                <a:effectLst/>
                <a:latin typeface="Montserrat"/>
                <a:ea typeface="Aptos" panose="020B0004020202020204" pitchFamily="34" charset="0"/>
                <a:cs typeface="Times New Roman"/>
              </a:rPr>
              <a:t> kanssa.</a:t>
            </a:r>
            <a:endParaRPr lang="fi-FI" sz="2400">
              <a:latin typeface="Montserrat"/>
              <a:cs typeface="Times New Roman"/>
            </a:endParaRPr>
          </a:p>
        </p:txBody>
      </p:sp>
      <p:pic>
        <p:nvPicPr>
          <p:cNvPr id="4" name="Kuva 3" descr="Kuva, joka sisältää kohteen symboli, teksti, logo, Fontti&#10;&#10;Kuvaus luotu automaattisesti">
            <a:extLst>
              <a:ext uri="{FF2B5EF4-FFF2-40B4-BE49-F238E27FC236}">
                <a16:creationId xmlns:a16="http://schemas.microsoft.com/office/drawing/2014/main" id="{4B0E469A-0B36-9EAB-55D9-6C91834CDD0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53875" y="5139178"/>
            <a:ext cx="2431153" cy="1718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10915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2" name="Rectangle 31">
            <a:extLst>
              <a:ext uri="{FF2B5EF4-FFF2-40B4-BE49-F238E27FC236}">
                <a16:creationId xmlns:a16="http://schemas.microsoft.com/office/drawing/2014/main" id="{04812C46-200A-4DEB-A05E-3ED6C68C23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7">
            <a:extLst>
              <a:ext uri="{FF2B5EF4-FFF2-40B4-BE49-F238E27FC236}">
                <a16:creationId xmlns:a16="http://schemas.microsoft.com/office/drawing/2014/main" id="{51B33EE1-10D7-52DE-1FE0-EE03D908E3D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669642" cy="6858000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D1EA859B-E555-4109-94F3-6700E046E0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5125019" y="0"/>
            <a:ext cx="7066978" cy="6858000"/>
          </a:xfrm>
          <a:prstGeom prst="rect">
            <a:avLst/>
          </a:prstGeom>
          <a:gradFill>
            <a:gsLst>
              <a:gs pos="48000">
                <a:schemeClr val="bg1"/>
              </a:gs>
              <a:gs pos="35000">
                <a:schemeClr val="bg1">
                  <a:alpha val="77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09EC6FB1-24CA-E5CF-1838-BFD7A49F2E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63143" y="541088"/>
            <a:ext cx="7444886" cy="1864656"/>
          </a:xfrm>
        </p:spPr>
        <p:txBody>
          <a:bodyPr>
            <a:noAutofit/>
          </a:bodyPr>
          <a:lstStyle/>
          <a:p>
            <a:pPr marL="0" lvl="0" indent="0">
              <a:buNone/>
            </a:pPr>
            <a:r>
              <a:rPr lang="fi-FI" sz="4000" b="1" kern="100">
                <a:latin typeface="Montserrat" panose="00000500000000000000" pitchFamily="2" charset="0"/>
                <a:ea typeface="Aptos" panose="020B0004020202020204" pitchFamily="34" charset="0"/>
                <a:cs typeface="Arial" panose="020B0604020202020204" pitchFamily="34" charset="0"/>
              </a:rPr>
              <a:t>Lähetysseura –</a:t>
            </a:r>
            <a:br>
              <a:rPr lang="fi-FI" sz="4000" b="1" kern="100">
                <a:latin typeface="Montserrat" panose="00000500000000000000" pitchFamily="2" charset="0"/>
                <a:ea typeface="Aptos" panose="020B0004020202020204" pitchFamily="34" charset="0"/>
                <a:cs typeface="Arial" panose="020B0604020202020204" pitchFamily="34" charset="0"/>
              </a:rPr>
            </a:br>
            <a:r>
              <a:rPr lang="fi-FI" sz="4000" b="1" kern="100">
                <a:latin typeface="Montserrat" panose="00000500000000000000" pitchFamily="2" charset="0"/>
                <a:ea typeface="Aptos" panose="020B0004020202020204" pitchFamily="34" charset="0"/>
                <a:cs typeface="Arial" panose="020B0604020202020204" pitchFamily="34" charset="0"/>
              </a:rPr>
              <a:t>seurakuntien oma järjestö</a:t>
            </a:r>
            <a:r>
              <a:rPr lang="fi-FI" sz="4000" b="1" kern="100">
                <a:effectLst/>
                <a:latin typeface="Montserrat" panose="00000500000000000000" pitchFamily="2" charset="0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</a:p>
          <a:p>
            <a:pPr marL="0" indent="0">
              <a:buNone/>
            </a:pPr>
            <a:r>
              <a:rPr lang="fi-FI" sz="4000" kern="100">
                <a:latin typeface="Montserrat" panose="00000500000000000000" pitchFamily="2" charset="0"/>
                <a:ea typeface="Aptos" panose="020B0004020202020204" pitchFamily="34" charset="0"/>
                <a:cs typeface="Arial" panose="020B0604020202020204" pitchFamily="34" charset="0"/>
              </a:rPr>
              <a:t>				</a:t>
            </a:r>
            <a:endParaRPr lang="fi-FI" sz="4000" kern="100">
              <a:effectLst/>
              <a:latin typeface="Montserrat" panose="00000500000000000000" pitchFamily="2" charset="0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kstiruutu 1">
            <a:extLst>
              <a:ext uri="{FF2B5EF4-FFF2-40B4-BE49-F238E27FC236}">
                <a16:creationId xmlns:a16="http://schemas.microsoft.com/office/drawing/2014/main" id="{B046A089-BDCE-DEAA-942B-1740BB40C18A}"/>
              </a:ext>
            </a:extLst>
          </p:cNvPr>
          <p:cNvSpPr txBox="1"/>
          <p:nvPr/>
        </p:nvSpPr>
        <p:spPr>
          <a:xfrm>
            <a:off x="8658508" y="2405744"/>
            <a:ext cx="3043635" cy="32310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07000"/>
              </a:lnSpc>
              <a:spcAft>
                <a:spcPts val="800"/>
              </a:spcAft>
            </a:pPr>
            <a:r>
              <a:rPr lang="fi-FI" sz="2400" kern="100">
                <a:effectLst/>
                <a:latin typeface="Montserrat" panose="000005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Suomessa kaikki evankelis-luterilaiset </a:t>
            </a:r>
            <a:r>
              <a:rPr lang="fi-FI" sz="2400" b="1" kern="100">
                <a:effectLst/>
                <a:latin typeface="Montserrat" panose="000005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seurakunnat ovat Lähetysseuran omistajia, päättäjiä ja jäseniä</a:t>
            </a:r>
            <a:r>
              <a:rPr lang="fi-FI" sz="2400" b="1" kern="100">
                <a:latin typeface="Montserrat" panose="000005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.</a:t>
            </a:r>
            <a:r>
              <a:rPr lang="fi-FI" sz="2400" kern="100">
                <a:effectLst/>
                <a:latin typeface="Montserrat" panose="000005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endParaRPr lang="fi-FI" sz="2400">
              <a:latin typeface="Montserrat" panose="00000500000000000000" pitchFamily="2" charset="0"/>
            </a:endParaRPr>
          </a:p>
        </p:txBody>
      </p:sp>
      <p:pic>
        <p:nvPicPr>
          <p:cNvPr id="4" name="Kuva 3" descr="Kuva, joka sisältää kohteen symboli, teksti, logo, Fontti&#10;&#10;Kuvaus luotu automaattisesti">
            <a:extLst>
              <a:ext uri="{FF2B5EF4-FFF2-40B4-BE49-F238E27FC236}">
                <a16:creationId xmlns:a16="http://schemas.microsoft.com/office/drawing/2014/main" id="{1248EF45-3142-4A00-093D-4B70282ADC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53875" y="5139178"/>
            <a:ext cx="2431153" cy="1718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12019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2" name="Rectangle 31">
            <a:extLst>
              <a:ext uri="{FF2B5EF4-FFF2-40B4-BE49-F238E27FC236}">
                <a16:creationId xmlns:a16="http://schemas.microsoft.com/office/drawing/2014/main" id="{04812C46-200A-4DEB-A05E-3ED6C68C23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7">
            <a:extLst>
              <a:ext uri="{FF2B5EF4-FFF2-40B4-BE49-F238E27FC236}">
                <a16:creationId xmlns:a16="http://schemas.microsoft.com/office/drawing/2014/main" id="{51B33EE1-10D7-52DE-1FE0-EE03D908E3D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18732" y="0"/>
            <a:ext cx="9669642" cy="6858000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D1EA859B-E555-4109-94F3-6700E046E0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5125019" y="0"/>
            <a:ext cx="7066978" cy="6858000"/>
          </a:xfrm>
          <a:prstGeom prst="rect">
            <a:avLst/>
          </a:prstGeom>
          <a:gradFill>
            <a:gsLst>
              <a:gs pos="48000">
                <a:schemeClr val="bg1"/>
              </a:gs>
              <a:gs pos="35000">
                <a:schemeClr val="bg1">
                  <a:alpha val="77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09EC6FB1-24CA-E5CF-1838-BFD7A49F2E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3200" y="541088"/>
            <a:ext cx="5354827" cy="1864656"/>
          </a:xfrm>
        </p:spPr>
        <p:txBody>
          <a:bodyPr>
            <a:noAutofit/>
          </a:bodyPr>
          <a:lstStyle/>
          <a:p>
            <a:pPr marL="0" lvl="0" indent="0">
              <a:buNone/>
            </a:pPr>
            <a:r>
              <a:rPr lang="fi-FI" sz="3800" b="1" kern="100">
                <a:latin typeface="Montserrat" panose="00000500000000000000" pitchFamily="2" charset="0"/>
                <a:ea typeface="Aptos" panose="020B0004020202020204" pitchFamily="34" charset="0"/>
                <a:cs typeface="Arial" panose="020B0604020202020204" pitchFamily="34" charset="0"/>
              </a:rPr>
              <a:t>Paikallisjohtoisuus, inklusiivisuus ja ihmisoikeudet</a:t>
            </a:r>
            <a:r>
              <a:rPr lang="fi-FI" sz="4000" kern="100">
                <a:latin typeface="Montserrat" panose="00000500000000000000" pitchFamily="2" charset="0"/>
                <a:ea typeface="Aptos" panose="020B0004020202020204" pitchFamily="34" charset="0"/>
                <a:cs typeface="Arial" panose="020B0604020202020204" pitchFamily="34" charset="0"/>
              </a:rPr>
              <a:t>				</a:t>
            </a:r>
            <a:endParaRPr lang="fi-FI" sz="4000" kern="100">
              <a:effectLst/>
              <a:latin typeface="Montserrat" panose="00000500000000000000" pitchFamily="2" charset="0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kstiruutu 1">
            <a:extLst>
              <a:ext uri="{FF2B5EF4-FFF2-40B4-BE49-F238E27FC236}">
                <a16:creationId xmlns:a16="http://schemas.microsoft.com/office/drawing/2014/main" id="{B046A089-BDCE-DEAA-942B-1740BB40C18A}"/>
              </a:ext>
            </a:extLst>
          </p:cNvPr>
          <p:cNvSpPr txBox="1"/>
          <p:nvPr/>
        </p:nvSpPr>
        <p:spPr>
          <a:xfrm>
            <a:off x="8411937" y="2197904"/>
            <a:ext cx="3505858" cy="451912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i-FI" sz="2400">
                <a:effectLst/>
                <a:latin typeface="Montserrat"/>
                <a:ea typeface="Aptos" panose="020B0004020202020204" pitchFamily="34" charset="0"/>
                <a:cs typeface="Times New Roman"/>
              </a:rPr>
              <a:t>Työtä tehdään sen piirissä olevien </a:t>
            </a:r>
            <a:r>
              <a:rPr lang="fi-FI" sz="2400" b="1">
                <a:effectLst/>
                <a:latin typeface="Montserrat"/>
                <a:ea typeface="Aptos" panose="020B0004020202020204" pitchFamily="34" charset="0"/>
                <a:cs typeface="Times New Roman"/>
              </a:rPr>
              <a:t>ihmisten</a:t>
            </a:r>
            <a:r>
              <a:rPr lang="fi-FI" sz="2400">
                <a:effectLst/>
                <a:latin typeface="Montserrat"/>
                <a:ea typeface="Aptos" panose="020B0004020202020204" pitchFamily="34" charset="0"/>
                <a:cs typeface="Times New Roman"/>
              </a:rPr>
              <a:t> ja </a:t>
            </a:r>
            <a:r>
              <a:rPr lang="fi-FI" sz="2400" b="1">
                <a:latin typeface="Montserrat"/>
                <a:ea typeface="Aptos" panose="020B0004020202020204" pitchFamily="34" charset="0"/>
                <a:cs typeface="Times New Roman"/>
              </a:rPr>
              <a:t>yhteistyö-</a:t>
            </a:r>
            <a:br>
              <a:rPr lang="fi-FI" sz="2400" b="1">
                <a:latin typeface="Montserrat"/>
                <a:ea typeface="Aptos" panose="020B0004020202020204" pitchFamily="34" charset="0"/>
                <a:cs typeface="Times New Roman"/>
              </a:rPr>
            </a:br>
            <a:r>
              <a:rPr lang="fi-FI" sz="2400" b="1">
                <a:latin typeface="Montserrat"/>
                <a:ea typeface="Aptos" panose="020B0004020202020204" pitchFamily="34" charset="0"/>
                <a:cs typeface="Times New Roman"/>
              </a:rPr>
              <a:t>kumppanien</a:t>
            </a:r>
            <a:r>
              <a:rPr lang="fi-FI" sz="2400" b="1">
                <a:effectLst/>
                <a:latin typeface="Montserrat"/>
                <a:ea typeface="Aptos" panose="020B0004020202020204" pitchFamily="34" charset="0"/>
                <a:cs typeface="Times New Roman"/>
              </a:rPr>
              <a:t> ehdoilla ja heidän tarpeistaan käsin</a:t>
            </a:r>
            <a:r>
              <a:rPr lang="fi-FI" sz="2400">
                <a:effectLst/>
                <a:latin typeface="Montserrat"/>
                <a:ea typeface="Aptos" panose="020B0004020202020204" pitchFamily="34" charset="0"/>
                <a:cs typeface="Times New Roman"/>
              </a:rPr>
              <a:t>. Edistämme jokaisen ihmisoikeuksia ja torjumme </a:t>
            </a:r>
            <a:r>
              <a:rPr lang="fi-FI" sz="2400">
                <a:latin typeface="Montserrat"/>
                <a:ea typeface="Aptos" panose="020B0004020202020204" pitchFamily="34" charset="0"/>
                <a:cs typeface="Times New Roman"/>
              </a:rPr>
              <a:t>kaikkea syrjintää</a:t>
            </a:r>
            <a:r>
              <a:rPr lang="fi-FI" sz="2400">
                <a:effectLst/>
                <a:latin typeface="Montserrat"/>
                <a:ea typeface="Aptos" panose="020B0004020202020204" pitchFamily="34" charset="0"/>
                <a:cs typeface="Times New Roman"/>
              </a:rPr>
              <a:t>. </a:t>
            </a:r>
            <a:endParaRPr lang="fi-FI" sz="2400">
              <a:latin typeface="Montserrat"/>
              <a:cs typeface="Times New Roman"/>
            </a:endParaRPr>
          </a:p>
        </p:txBody>
      </p:sp>
      <p:pic>
        <p:nvPicPr>
          <p:cNvPr id="4" name="Kuva 3" descr="Kuva, joka sisältää kohteen symboli, teksti, logo, Fontti&#10;&#10;Kuvaus luotu automaattisesti">
            <a:extLst>
              <a:ext uri="{FF2B5EF4-FFF2-40B4-BE49-F238E27FC236}">
                <a16:creationId xmlns:a16="http://schemas.microsoft.com/office/drawing/2014/main" id="{3F16F99B-9F7E-3301-FE1E-AD49325683B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1136" y="5238569"/>
            <a:ext cx="2431153" cy="1718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98411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white background with circles&#10;&#10;Description automatically generated">
            <a:extLst>
              <a:ext uri="{FF2B5EF4-FFF2-40B4-BE49-F238E27FC236}">
                <a16:creationId xmlns:a16="http://schemas.microsoft.com/office/drawing/2014/main" id="{3DCF57E6-F2B7-F4C1-803D-02A6089C29B2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11" name="Kaaviokuva 10">
            <a:extLst>
              <a:ext uri="{FF2B5EF4-FFF2-40B4-BE49-F238E27FC236}">
                <a16:creationId xmlns:a16="http://schemas.microsoft.com/office/drawing/2014/main" id="{AA74DA08-5B78-7964-9E14-709CADCAB44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45120737"/>
              </p:ext>
            </p:extLst>
          </p:nvPr>
        </p:nvGraphicFramePr>
        <p:xfrm>
          <a:off x="1887922" y="1422401"/>
          <a:ext cx="9013160" cy="47383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0" name="Otsikko 9">
            <a:extLst>
              <a:ext uri="{FF2B5EF4-FFF2-40B4-BE49-F238E27FC236}">
                <a16:creationId xmlns:a16="http://schemas.microsoft.com/office/drawing/2014/main" id="{CADF6E25-823B-345A-25B9-4DD87AA346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036" y="173335"/>
            <a:ext cx="10515600" cy="687904"/>
          </a:xfrm>
        </p:spPr>
        <p:txBody>
          <a:bodyPr>
            <a:normAutofit/>
          </a:bodyPr>
          <a:lstStyle/>
          <a:p>
            <a:r>
              <a:rPr lang="fi-FI" sz="3200">
                <a:solidFill>
                  <a:schemeClr val="tx1"/>
                </a:solidFill>
                <a:latin typeface="Montserrat"/>
                <a:cs typeface="Arial"/>
              </a:rPr>
              <a:t>Suomen Lähetysseuran strategia</a:t>
            </a:r>
            <a:endParaRPr lang="fi-FI" sz="3200">
              <a:solidFill>
                <a:schemeClr val="tx1"/>
              </a:solidFill>
              <a:latin typeface="Montserrat" panose="00000500000000000000" pitchFamily="2" charset="0"/>
            </a:endParaRPr>
          </a:p>
        </p:txBody>
      </p:sp>
      <p:sp>
        <p:nvSpPr>
          <p:cNvPr id="2" name="Suorakulmio 1">
            <a:extLst>
              <a:ext uri="{FF2B5EF4-FFF2-40B4-BE49-F238E27FC236}">
                <a16:creationId xmlns:a16="http://schemas.microsoft.com/office/drawing/2014/main" id="{DC921B27-FE06-0159-BB14-37228DC33028}"/>
              </a:ext>
            </a:extLst>
          </p:cNvPr>
          <p:cNvSpPr/>
          <p:nvPr/>
        </p:nvSpPr>
        <p:spPr>
          <a:xfrm>
            <a:off x="1484585" y="967646"/>
            <a:ext cx="4339251" cy="551734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1" i="0" u="none" strike="noStrike" kern="0" cap="none" spc="0" normalizeH="0" baseline="0" noProof="0">
                <a:ln>
                  <a:noFill/>
                </a:ln>
                <a:solidFill>
                  <a:srgbClr val="F53246"/>
                </a:solidFill>
                <a:effectLst/>
                <a:uLnTx/>
                <a:uFillTx/>
                <a:latin typeface="Montserrat" panose="00000500000000000000" pitchFamily="2" charset="0"/>
              </a:rPr>
              <a:t>VISI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Montserrat" panose="00000500000000000000" pitchFamily="2" charset="0"/>
              </a:rPr>
              <a:t>Usko, toivo ja rakkaus vahvistuvat maailmassa </a:t>
            </a:r>
          </a:p>
        </p:txBody>
      </p:sp>
      <p:sp>
        <p:nvSpPr>
          <p:cNvPr id="4" name="Suorakulmio 3">
            <a:extLst>
              <a:ext uri="{FF2B5EF4-FFF2-40B4-BE49-F238E27FC236}">
                <a16:creationId xmlns:a16="http://schemas.microsoft.com/office/drawing/2014/main" id="{9D3846A3-7F18-642A-9953-8EBA33435BA4}"/>
              </a:ext>
            </a:extLst>
          </p:cNvPr>
          <p:cNvSpPr/>
          <p:nvPr/>
        </p:nvSpPr>
        <p:spPr>
          <a:xfrm>
            <a:off x="6918401" y="951384"/>
            <a:ext cx="4961558" cy="551734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1" i="0" u="none" strike="noStrike" kern="0" cap="none" spc="0" normalizeH="0" baseline="0" noProof="0">
                <a:ln>
                  <a:noFill/>
                </a:ln>
                <a:solidFill>
                  <a:srgbClr val="F53246"/>
                </a:solidFill>
                <a:effectLst/>
                <a:uLnTx/>
                <a:uFillTx/>
                <a:latin typeface="Montserrat" panose="00000500000000000000" pitchFamily="2" charset="0"/>
              </a:rPr>
              <a:t>MISSI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Montserrat" panose="00000500000000000000" pitchFamily="2" charset="0"/>
              </a:rPr>
              <a:t>Todistamme Jumalan rakkaudesta sanoin ja teoin </a:t>
            </a:r>
          </a:p>
        </p:txBody>
      </p:sp>
      <p:sp>
        <p:nvSpPr>
          <p:cNvPr id="5" name="Suorakulmio 4">
            <a:extLst>
              <a:ext uri="{FF2B5EF4-FFF2-40B4-BE49-F238E27FC236}">
                <a16:creationId xmlns:a16="http://schemas.microsoft.com/office/drawing/2014/main" id="{AA7737CB-FCEF-A849-934C-E7143A3FF619}"/>
              </a:ext>
            </a:extLst>
          </p:cNvPr>
          <p:cNvSpPr/>
          <p:nvPr/>
        </p:nvSpPr>
        <p:spPr>
          <a:xfrm>
            <a:off x="2461754" y="6403168"/>
            <a:ext cx="7865496" cy="31036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1" i="0" u="none" strike="noStrike" kern="0" cap="none" spc="0" normalizeH="0" baseline="0" noProof="0">
                <a:ln>
                  <a:noFill/>
                </a:ln>
                <a:solidFill>
                  <a:srgbClr val="F53246"/>
                </a:solidFill>
                <a:effectLst/>
                <a:uLnTx/>
                <a:uFillTx/>
                <a:latin typeface="Montserrat" panose="00000500000000000000" pitchFamily="2" charset="0"/>
              </a:rPr>
              <a:t>ARVOT </a:t>
            </a:r>
            <a:r>
              <a:rPr kumimoji="0" lang="fi-FI" sz="1400" b="0" i="0" u="none" strike="noStrike" kern="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Montserrat" panose="00000500000000000000" pitchFamily="2" charset="0"/>
              </a:rPr>
              <a:t>Lähimmäisenrakkaus, oikeudenmukaisuus, vastuullisuus, yhdessä tekeminen</a:t>
            </a:r>
          </a:p>
        </p:txBody>
      </p:sp>
      <p:sp>
        <p:nvSpPr>
          <p:cNvPr id="6" name="Suorakulmio 5">
            <a:extLst>
              <a:ext uri="{FF2B5EF4-FFF2-40B4-BE49-F238E27FC236}">
                <a16:creationId xmlns:a16="http://schemas.microsoft.com/office/drawing/2014/main" id="{14329D76-69D7-2330-458D-A4D29721BB10}"/>
              </a:ext>
            </a:extLst>
          </p:cNvPr>
          <p:cNvSpPr/>
          <p:nvPr/>
        </p:nvSpPr>
        <p:spPr>
          <a:xfrm>
            <a:off x="9095267" y="1848423"/>
            <a:ext cx="2709559" cy="664946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Montserrat" panose="00000500000000000000" pitchFamily="2" charset="0"/>
              </a:rPr>
              <a:t>Monikerroksiset kriisit</a:t>
            </a:r>
          </a:p>
        </p:txBody>
      </p:sp>
      <p:sp>
        <p:nvSpPr>
          <p:cNvPr id="7" name="Suorakulmio 6">
            <a:extLst>
              <a:ext uri="{FF2B5EF4-FFF2-40B4-BE49-F238E27FC236}">
                <a16:creationId xmlns:a16="http://schemas.microsoft.com/office/drawing/2014/main" id="{F035271A-AA69-2C72-98D5-D461A141D83D}"/>
              </a:ext>
            </a:extLst>
          </p:cNvPr>
          <p:cNvSpPr/>
          <p:nvPr/>
        </p:nvSpPr>
        <p:spPr>
          <a:xfrm>
            <a:off x="253313" y="1631853"/>
            <a:ext cx="4928287" cy="2398508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40" tIns="45720" rIns="91440" bIns="4572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1" i="0" u="none" strike="noStrike" kern="0" cap="none" spc="0" normalizeH="0" baseline="0" noProof="0">
                <a:ln>
                  <a:noFill/>
                </a:ln>
                <a:solidFill>
                  <a:srgbClr val="F53246"/>
                </a:solidFill>
                <a:effectLst/>
                <a:uLnTx/>
                <a:uFillTx/>
                <a:latin typeface="Montserrat" panose="00000500000000000000" pitchFamily="2" charset="0"/>
              </a:rPr>
              <a:t>Kansainvälisen työn painopisteet</a:t>
            </a:r>
            <a:endParaRPr kumimoji="0" lang="fi-FI" sz="1400" b="0" i="0" u="none" strike="noStrike" kern="0" cap="none" spc="0" normalizeH="0" baseline="0" noProof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Montserrat" panose="00000500000000000000" pitchFamily="2" charset="0"/>
            </a:endParaRP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fi-FI" sz="1400" kern="100">
                <a:effectLst/>
                <a:latin typeface="Montserrat" panose="00000500000000000000" pitchFamily="2" charset="0"/>
                <a:ea typeface="Times New Roman" panose="02020603050405020304" pitchFamily="18" charset="0"/>
                <a:cs typeface="Arial" panose="020B0604020202020204" pitchFamily="34" charset="0"/>
              </a:rPr>
              <a:t>Tavoittava työ ja evankeliointi </a:t>
            </a:r>
            <a:endParaRPr lang="fi-FI" sz="1400" kern="100">
              <a:effectLst/>
              <a:latin typeface="Montserrat" panose="00000500000000000000" pitchFamily="2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fi-FI" sz="1400" kern="100">
                <a:effectLst/>
                <a:latin typeface="Montserrat" panose="00000500000000000000" pitchFamily="2" charset="0"/>
                <a:ea typeface="Times New Roman" panose="02020603050405020304" pitchFamily="18" charset="0"/>
                <a:cs typeface="Arial" panose="020B0604020202020204" pitchFamily="34" charset="0"/>
              </a:rPr>
              <a:t>Teologinen koulutus, diakonia ja kirkkojen johtaminen</a:t>
            </a:r>
            <a:endParaRPr lang="fi-FI" sz="1400" kern="100">
              <a:effectLst/>
              <a:latin typeface="Montserrat" panose="00000500000000000000" pitchFamily="2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fi-FI" sz="1400" kern="100">
                <a:effectLst/>
                <a:latin typeface="Montserrat" panose="00000500000000000000" pitchFamily="2" charset="0"/>
                <a:ea typeface="Times New Roman" panose="02020603050405020304" pitchFamily="18" charset="0"/>
                <a:cs typeface="Arial" panose="020B0604020202020204" pitchFamily="34" charset="0"/>
              </a:rPr>
              <a:t>Paikalliset toimijat rauhan ja sovinnon työssä</a:t>
            </a:r>
            <a:endParaRPr lang="fi-FI" sz="1400" kern="100">
              <a:effectLst/>
              <a:latin typeface="Montserrat" panose="00000500000000000000" pitchFamily="2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fi-FI" sz="1400" kern="100">
                <a:latin typeface="Montserrat"/>
                <a:ea typeface="Times New Roman" panose="02020603050405020304" pitchFamily="18" charset="0"/>
                <a:cs typeface="Arial"/>
              </a:rPr>
              <a:t>Ilmasto-oikeudenmukaisuus ja kestävät ilmastokriisin ratkaisut</a:t>
            </a:r>
            <a:endParaRPr lang="fi-FI" sz="1400" kern="100">
              <a:effectLst/>
              <a:latin typeface="Montserrat"/>
              <a:ea typeface="Aptos" panose="020B0004020202020204" pitchFamily="34" charset="0"/>
              <a:cs typeface="Arial"/>
            </a:endParaRP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fi-FI" sz="1400" kern="100">
                <a:solidFill>
                  <a:srgbClr val="0C0C0C"/>
                </a:solidFill>
                <a:effectLst/>
                <a:latin typeface="Montserrat" panose="00000500000000000000" pitchFamily="2" charset="0"/>
                <a:ea typeface="Times New Roman" panose="02020603050405020304" pitchFamily="18" charset="0"/>
                <a:cs typeface="Arial" panose="020B0604020202020204" pitchFamily="34" charset="0"/>
              </a:rPr>
              <a:t>Lasten ja nuorten erityistarpeet koulutuksessa </a:t>
            </a:r>
            <a:endParaRPr lang="fi-FI" sz="1400" kern="100">
              <a:effectLst/>
              <a:latin typeface="Montserrat" panose="00000500000000000000" pitchFamily="2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fi-FI" sz="1400" kern="100">
                <a:solidFill>
                  <a:srgbClr val="0C0C0C"/>
                </a:solidFill>
                <a:effectLst/>
                <a:latin typeface="Montserrat" panose="00000500000000000000" pitchFamily="2" charset="0"/>
                <a:ea typeface="Times New Roman" panose="02020603050405020304" pitchFamily="18" charset="0"/>
                <a:cs typeface="Arial" panose="020B0604020202020204" pitchFamily="34" charset="0"/>
              </a:rPr>
              <a:t>Paikalliseen osaamiseen perustuva vaikuttamistyö</a:t>
            </a:r>
            <a:endParaRPr kumimoji="0" lang="fi-FI" sz="1000" b="0" i="0" u="none" strike="noStrike" kern="0" cap="none" spc="0" normalizeH="0" baseline="0" noProof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Montserrat" panose="00000500000000000000" pitchFamily="2" charset="0"/>
            </a:endParaRPr>
          </a:p>
        </p:txBody>
      </p:sp>
      <p:sp>
        <p:nvSpPr>
          <p:cNvPr id="8" name="Suorakulmio 7">
            <a:extLst>
              <a:ext uri="{FF2B5EF4-FFF2-40B4-BE49-F238E27FC236}">
                <a16:creationId xmlns:a16="http://schemas.microsoft.com/office/drawing/2014/main" id="{2B44FD38-D881-F069-AB5B-55894A087BCD}"/>
              </a:ext>
            </a:extLst>
          </p:cNvPr>
          <p:cNvSpPr/>
          <p:nvPr/>
        </p:nvSpPr>
        <p:spPr>
          <a:xfrm>
            <a:off x="253313" y="4085699"/>
            <a:ext cx="3605868" cy="2227324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1" i="0" u="none" strike="noStrike" kern="0" cap="none" spc="0" normalizeH="0" baseline="0" noProof="0">
                <a:ln>
                  <a:noFill/>
                </a:ln>
                <a:solidFill>
                  <a:srgbClr val="F53246"/>
                </a:solidFill>
                <a:effectLst/>
                <a:uLnTx/>
                <a:uFillTx/>
                <a:latin typeface="Montserrat" panose="00000500000000000000" pitchFamily="2" charset="0"/>
              </a:rPr>
              <a:t>Kotimaa</a:t>
            </a:r>
            <a:r>
              <a:rPr lang="fi-FI" sz="1400" b="1" kern="0" err="1">
                <a:solidFill>
                  <a:srgbClr val="F53246"/>
                </a:solidFill>
                <a:latin typeface="Montserrat" panose="00000500000000000000" pitchFamily="2" charset="0"/>
              </a:rPr>
              <a:t>ntyössä</a:t>
            </a:r>
            <a:r>
              <a:rPr lang="fi-FI" sz="1400" b="1" kern="0">
                <a:solidFill>
                  <a:srgbClr val="F53246"/>
                </a:solidFill>
                <a:latin typeface="Montserrat" panose="00000500000000000000" pitchFamily="2" charset="0"/>
              </a:rPr>
              <a:t> vahvistamme</a:t>
            </a:r>
            <a:endParaRPr kumimoji="0" lang="fi-FI" sz="1000" b="0" i="0" u="none" strike="noStrike" kern="0" cap="none" spc="0" normalizeH="0" baseline="0" noProof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Montserrat" panose="00000500000000000000" pitchFamily="2" charset="0"/>
            </a:endParaRP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fi-FI" sz="1400" kern="100">
                <a:effectLst/>
                <a:latin typeface="Montserrat" panose="00000500000000000000" pitchFamily="2" charset="0"/>
                <a:ea typeface="Aptos" panose="020B0004020202020204" pitchFamily="34" charset="0"/>
                <a:cs typeface="Arial" panose="020B0604020202020204" pitchFamily="34" charset="0"/>
              </a:rPr>
              <a:t>seurakuntien ja Lähetysseuran vuorovaikutusta ja luottamusta</a:t>
            </a: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fi-FI" sz="1400" kern="100">
                <a:effectLst/>
                <a:latin typeface="Montserrat" panose="00000500000000000000" pitchFamily="2" charset="0"/>
                <a:ea typeface="Aptos" panose="020B0004020202020204" pitchFamily="34" charset="0"/>
                <a:cs typeface="Arial" panose="020B0604020202020204" pitchFamily="34" charset="0"/>
              </a:rPr>
              <a:t>kirkon työntekijöiden ja vapaaehtoisten lähetysintoa </a:t>
            </a: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fi-FI" sz="1400" kern="100">
                <a:effectLst/>
                <a:latin typeface="Montserrat" panose="00000500000000000000" pitchFamily="2" charset="0"/>
                <a:ea typeface="Aptos" panose="020B0004020202020204" pitchFamily="34" charset="0"/>
                <a:cs typeface="Arial" panose="020B0604020202020204" pitchFamily="34" charset="0"/>
              </a:rPr>
              <a:t>ihmisten osallistumista lähetystä koskevaan toimintaan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fi-FI" sz="1400" kern="100">
                <a:effectLst/>
                <a:latin typeface="Montserrat" panose="00000500000000000000" pitchFamily="2" charset="0"/>
                <a:ea typeface="Aptos" panose="020B0004020202020204" pitchFamily="34" charset="0"/>
                <a:cs typeface="Arial" panose="020B0604020202020204" pitchFamily="34" charset="0"/>
              </a:rPr>
              <a:t>nuorten ja nuorten aikuisten kiinnostusta lähetystyöhö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200" b="0" i="0" u="none" strike="noStrike" kern="0" cap="none" spc="0" normalizeH="0" baseline="0" noProof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Suorakulmio 11">
            <a:extLst>
              <a:ext uri="{FF2B5EF4-FFF2-40B4-BE49-F238E27FC236}">
                <a16:creationId xmlns:a16="http://schemas.microsoft.com/office/drawing/2014/main" id="{F5504713-9D26-2928-9725-56E02E63A52A}"/>
              </a:ext>
            </a:extLst>
          </p:cNvPr>
          <p:cNvSpPr/>
          <p:nvPr/>
        </p:nvSpPr>
        <p:spPr>
          <a:xfrm>
            <a:off x="8454729" y="2581461"/>
            <a:ext cx="3350096" cy="664946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Montserrat" panose="00000500000000000000" pitchFamily="2" charset="0"/>
              </a:rPr>
              <a:t>Uskontojen merkityksen kasvu</a:t>
            </a:r>
          </a:p>
        </p:txBody>
      </p:sp>
      <p:sp>
        <p:nvSpPr>
          <p:cNvPr id="13" name="Suorakulmio 12">
            <a:extLst>
              <a:ext uri="{FF2B5EF4-FFF2-40B4-BE49-F238E27FC236}">
                <a16:creationId xmlns:a16="http://schemas.microsoft.com/office/drawing/2014/main" id="{5D13E6A3-0BCE-151A-0419-FC5B49133A7D}"/>
              </a:ext>
            </a:extLst>
          </p:cNvPr>
          <p:cNvSpPr/>
          <p:nvPr/>
        </p:nvSpPr>
        <p:spPr>
          <a:xfrm>
            <a:off x="9399180" y="3329476"/>
            <a:ext cx="2405645" cy="721865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Montserrat" panose="00000500000000000000" pitchFamily="2" charset="0"/>
              </a:rPr>
              <a:t>Kansainvälisen avustustyön uusi vallanjako</a:t>
            </a:r>
          </a:p>
        </p:txBody>
      </p:sp>
      <p:sp>
        <p:nvSpPr>
          <p:cNvPr id="18" name="Suorakulmio 17">
            <a:extLst>
              <a:ext uri="{FF2B5EF4-FFF2-40B4-BE49-F238E27FC236}">
                <a16:creationId xmlns:a16="http://schemas.microsoft.com/office/drawing/2014/main" id="{6C023D7C-371C-DCD6-A0F2-70280926A99D}"/>
              </a:ext>
            </a:extLst>
          </p:cNvPr>
          <p:cNvSpPr/>
          <p:nvPr/>
        </p:nvSpPr>
        <p:spPr>
          <a:xfrm>
            <a:off x="9095266" y="4134410"/>
            <a:ext cx="2709559" cy="820793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Montserrat" panose="00000500000000000000" pitchFamily="2" charset="0"/>
              </a:rPr>
              <a:t>Lapset ja nuoret kehittyvien maiden iso väestönosa</a:t>
            </a:r>
          </a:p>
        </p:txBody>
      </p:sp>
      <p:sp>
        <p:nvSpPr>
          <p:cNvPr id="28" name="Nuoli: Lovi oikealla 27">
            <a:extLst>
              <a:ext uri="{FF2B5EF4-FFF2-40B4-BE49-F238E27FC236}">
                <a16:creationId xmlns:a16="http://schemas.microsoft.com/office/drawing/2014/main" id="{D6567053-17D0-DB53-D1FE-79AF89E6CE6F}"/>
              </a:ext>
            </a:extLst>
          </p:cNvPr>
          <p:cNvSpPr/>
          <p:nvPr/>
        </p:nvSpPr>
        <p:spPr>
          <a:xfrm rot="10800000">
            <a:off x="7894038" y="3419278"/>
            <a:ext cx="1043575" cy="494706"/>
          </a:xfrm>
          <a:prstGeom prst="notchedRightArrow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Suorakulmio 28">
            <a:extLst>
              <a:ext uri="{FF2B5EF4-FFF2-40B4-BE49-F238E27FC236}">
                <a16:creationId xmlns:a16="http://schemas.microsoft.com/office/drawing/2014/main" id="{B89C3997-8695-08C3-7CC1-59F1871BBBD3}"/>
              </a:ext>
            </a:extLst>
          </p:cNvPr>
          <p:cNvSpPr/>
          <p:nvPr/>
        </p:nvSpPr>
        <p:spPr>
          <a:xfrm>
            <a:off x="9200420" y="5069433"/>
            <a:ext cx="2604405" cy="590951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Montserrat" panose="00000500000000000000" pitchFamily="2" charset="0"/>
              </a:rPr>
              <a:t>Lahjoittamisen ja vapaaehtoistyön monikanavaisuus</a:t>
            </a:r>
          </a:p>
        </p:txBody>
      </p:sp>
      <p:sp>
        <p:nvSpPr>
          <p:cNvPr id="30" name="Suorakulmio 29">
            <a:extLst>
              <a:ext uri="{FF2B5EF4-FFF2-40B4-BE49-F238E27FC236}">
                <a16:creationId xmlns:a16="http://schemas.microsoft.com/office/drawing/2014/main" id="{68770B47-9B41-EA51-4608-99AF52B19AAD}"/>
              </a:ext>
            </a:extLst>
          </p:cNvPr>
          <p:cNvSpPr/>
          <p:nvPr/>
        </p:nvSpPr>
        <p:spPr>
          <a:xfrm>
            <a:off x="9782843" y="5772959"/>
            <a:ext cx="2021982" cy="399726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0" cap="none" spc="0" normalizeH="0" baseline="0" noProof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Montserrat" panose="00000500000000000000" pitchFamily="2" charset="0"/>
              </a:rPr>
              <a:t>Digitalisaatio ja tekoäly</a:t>
            </a:r>
          </a:p>
        </p:txBody>
      </p:sp>
    </p:spTree>
    <p:extLst>
      <p:ext uri="{BB962C8B-B14F-4D97-AF65-F5344CB8AC3E}">
        <p14:creationId xmlns:p14="http://schemas.microsoft.com/office/powerpoint/2010/main" val="947916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1" grpId="0">
        <p:bldAsOne/>
      </p:bldGraphic>
      <p:bldP spid="2" grpId="0" animBg="1"/>
      <p:bldP spid="4" grpId="0" animBg="1"/>
      <p:bldP spid="5" grpId="0" animBg="1"/>
      <p:bldP spid="6" grpId="0" animBg="1"/>
      <p:bldP spid="7" grpId="0" animBg="1"/>
      <p:bldP spid="8" grpId="0" animBg="1"/>
      <p:bldP spid="12" grpId="0" animBg="1"/>
      <p:bldP spid="13" grpId="0" animBg="1"/>
      <p:bldP spid="18" grpId="0" animBg="1"/>
      <p:bldP spid="29" grpId="0" animBg="1"/>
      <p:bldP spid="30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8" name="Rectangle 17">
            <a:extLst>
              <a:ext uri="{FF2B5EF4-FFF2-40B4-BE49-F238E27FC236}">
                <a16:creationId xmlns:a16="http://schemas.microsoft.com/office/drawing/2014/main" id="{04812C46-200A-4DEB-A05E-3ED6C68C23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9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6" name="Picture 7">
            <a:extLst>
              <a:ext uri="{FF2B5EF4-FFF2-40B4-BE49-F238E27FC236}">
                <a16:creationId xmlns:a16="http://schemas.microsoft.com/office/drawing/2014/main" id="{51B33EE1-10D7-52DE-1FE0-EE03D908E3D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7509" y="0"/>
            <a:ext cx="9669642" cy="685799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D1EA859B-E555-4109-94F3-6700E046E0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7390263" cy="6858000"/>
          </a:xfrm>
          <a:prstGeom prst="rect">
            <a:avLst/>
          </a:prstGeom>
          <a:gradFill>
            <a:gsLst>
              <a:gs pos="48000">
                <a:schemeClr val="bg1"/>
              </a:gs>
              <a:gs pos="35000">
                <a:schemeClr val="bg1">
                  <a:alpha val="77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9AC70127-EC6F-C125-12D0-37C56E996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100516"/>
            <a:ext cx="3984171" cy="1899912"/>
          </a:xfrm>
        </p:spPr>
        <p:txBody>
          <a:bodyPr>
            <a:normAutofit/>
          </a:bodyPr>
          <a:lstStyle/>
          <a:p>
            <a:r>
              <a:rPr lang="fi-FI" sz="4000">
                <a:latin typeface="Montserrat" panose="00000500000000000000" pitchFamily="2" charset="0"/>
                <a:cs typeface="Arial" panose="020B0604020202020204" pitchFamily="34" charset="0"/>
              </a:rPr>
              <a:t>Mikä muuttuu?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09EC6FB1-24CA-E5CF-1838-BFD7A49F2E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189" y="2100944"/>
            <a:ext cx="4852189" cy="4298585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fi-FI" sz="1800" kern="100">
                <a:latin typeface="Montserrat"/>
                <a:ea typeface="Aptos" panose="020B0004020202020204" pitchFamily="34" charset="0"/>
                <a:cs typeface="Arial"/>
              </a:rPr>
              <a:t>Sanoitus s</a:t>
            </a:r>
            <a:r>
              <a:rPr lang="fi-FI" sz="1800" kern="100">
                <a:effectLst/>
                <a:latin typeface="Montserrat"/>
                <a:ea typeface="Aptos" panose="020B0004020202020204" pitchFamily="34" charset="0"/>
                <a:cs typeface="Arial"/>
              </a:rPr>
              <a:t>elkeästä kokonaisvaltaisesta</a:t>
            </a:r>
            <a:r>
              <a:rPr lang="fi-FI" sz="1800" b="1" kern="100">
                <a:effectLst/>
                <a:latin typeface="Montserrat"/>
                <a:ea typeface="Aptos" panose="020B0004020202020204" pitchFamily="34" charset="0"/>
                <a:cs typeface="Arial"/>
              </a:rPr>
              <a:t> lähetystyöstä </a:t>
            </a:r>
            <a:endParaRPr lang="fi-FI" sz="1800" kern="100">
              <a:effectLst/>
              <a:latin typeface="Montserrat"/>
              <a:ea typeface="Aptos" panose="020B0004020202020204" pitchFamily="34" charset="0"/>
              <a:cs typeface="Arial"/>
            </a:endParaRP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fi-FI" sz="1800" b="1" kern="100">
                <a:effectLst/>
                <a:latin typeface="Montserrat" panose="00000500000000000000" pitchFamily="2" charset="0"/>
                <a:ea typeface="Aptos" panose="020B0004020202020204" pitchFamily="34" charset="0"/>
                <a:cs typeface="Arial" panose="020B0604020202020204" pitchFamily="34" charset="0"/>
              </a:rPr>
              <a:t>Paikallisten kirkkojen vahvistaminen </a:t>
            </a:r>
            <a:r>
              <a:rPr lang="fi-FI" sz="1800" kern="100">
                <a:effectLst/>
                <a:latin typeface="Montserrat" panose="00000500000000000000" pitchFamily="2" charset="0"/>
                <a:ea typeface="Aptos" panose="020B0004020202020204" pitchFamily="34" charset="0"/>
                <a:cs typeface="Arial" panose="020B0604020202020204" pitchFamily="34" charset="0"/>
              </a:rPr>
              <a:t>kestävien ja hyvinvoivien yhteisöjen rinnalle </a:t>
            </a:r>
          </a:p>
          <a:p>
            <a:pPr marL="34290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fi-FI" sz="1800" b="1" kern="100">
                <a:effectLst/>
                <a:latin typeface="Montserrat" panose="000005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Fokusoimme ja rajaamme työtämme</a:t>
            </a:r>
            <a:r>
              <a:rPr lang="fi-FI" sz="1800" kern="100">
                <a:effectLst/>
                <a:latin typeface="Montserrat" panose="000005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 keskittymällä strategiassa sovittuihin painopisteisiin maailmalla. Ensimmäistä kertaa painopisteet on luotu myös kotimaan työlle.</a:t>
            </a:r>
          </a:p>
          <a:p>
            <a:pPr marL="34290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fi-FI" sz="1800" b="1" kern="100">
                <a:effectLst/>
                <a:latin typeface="Montserrat" panose="00000500000000000000" pitchFamily="2" charset="0"/>
                <a:ea typeface="Aptos" panose="020B0004020202020204" pitchFamily="34" charset="0"/>
                <a:cs typeface="Arial" panose="020B0604020202020204" pitchFamily="34" charset="0"/>
              </a:rPr>
              <a:t>Yhdessä tekeminen </a:t>
            </a:r>
            <a:r>
              <a:rPr lang="fi-FI" sz="1800" kern="100">
                <a:effectLst/>
                <a:latin typeface="Montserrat" panose="00000500000000000000" pitchFamily="2" charset="0"/>
                <a:ea typeface="Aptos" panose="020B0004020202020204" pitchFamily="34" charset="0"/>
                <a:cs typeface="Arial" panose="020B0604020202020204" pitchFamily="34" charset="0"/>
              </a:rPr>
              <a:t>arvojen joukkoon</a:t>
            </a:r>
            <a:endParaRPr lang="fi-FI" sz="1800" kern="100">
              <a:latin typeface="Montserrat" panose="00000500000000000000" pitchFamily="2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endParaRPr lang="fi-FI" sz="1800" kern="100">
              <a:effectLst/>
              <a:highlight>
                <a:srgbClr val="FFFF00"/>
              </a:highlight>
              <a:latin typeface="Montserrat" panose="00000500000000000000" pitchFamily="2" charset="0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Kuva 3" descr="Kuva, joka sisältää kohteen symboli, teksti, logo, Fontti&#10;&#10;Kuvaus luotu automaattisesti">
            <a:extLst>
              <a:ext uri="{FF2B5EF4-FFF2-40B4-BE49-F238E27FC236}">
                <a16:creationId xmlns:a16="http://schemas.microsoft.com/office/drawing/2014/main" id="{AE8A977D-A39C-8409-1C13-5B809B404C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22845" y="5288265"/>
            <a:ext cx="2431153" cy="1718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88454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5" name="Rectangle 24">
            <a:extLst>
              <a:ext uri="{FF2B5EF4-FFF2-40B4-BE49-F238E27FC236}">
                <a16:creationId xmlns:a16="http://schemas.microsoft.com/office/drawing/2014/main" id="{04812C46-200A-4DEB-A05E-3ED6C68C23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9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7">
            <a:extLst>
              <a:ext uri="{FF2B5EF4-FFF2-40B4-BE49-F238E27FC236}">
                <a16:creationId xmlns:a16="http://schemas.microsoft.com/office/drawing/2014/main" id="{51B33EE1-10D7-52DE-1FE0-EE03D908E3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82" b="-1"/>
          <a:stretch/>
        </p:blipFill>
        <p:spPr>
          <a:xfrm>
            <a:off x="2522356" y="10"/>
            <a:ext cx="9669642" cy="685799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D1EA859B-E555-4109-94F3-6700E046E0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7390263" cy="6858000"/>
          </a:xfrm>
          <a:prstGeom prst="rect">
            <a:avLst/>
          </a:prstGeom>
          <a:gradFill>
            <a:gsLst>
              <a:gs pos="48000">
                <a:schemeClr val="bg1"/>
              </a:gs>
              <a:gs pos="35000">
                <a:schemeClr val="bg1">
                  <a:alpha val="77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9AC70127-EC6F-C125-12D0-37C56E996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3822189" cy="1899912"/>
          </a:xfrm>
        </p:spPr>
        <p:txBody>
          <a:bodyPr>
            <a:normAutofit/>
          </a:bodyPr>
          <a:lstStyle/>
          <a:p>
            <a:r>
              <a:rPr lang="fi-FI" sz="4000">
                <a:latin typeface="Montserrat" panose="00000500000000000000" pitchFamily="2" charset="0"/>
                <a:cs typeface="Arial" panose="020B0604020202020204" pitchFamily="34" charset="0"/>
              </a:rPr>
              <a:t>Mikä muuttuu?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09EC6FB1-24CA-E5CF-1838-BFD7A49F2E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1887" y="2379772"/>
            <a:ext cx="3418114" cy="3742762"/>
          </a:xfrm>
        </p:spPr>
        <p:txBody>
          <a:bodyPr vert="horz" lIns="91440" tIns="45720" rIns="91440" bIns="45720" rtlCol="0">
            <a:normAutofit lnSpcReduction="10000"/>
          </a:bodyPr>
          <a:lstStyle/>
          <a:p>
            <a:pPr marL="342900" indent="-342900">
              <a:buFont typeface="Symbol" panose="05050102010706020507" pitchFamily="18" charset="2"/>
              <a:buChar char=""/>
            </a:pPr>
            <a:r>
              <a:rPr lang="fi-FI" sz="1700" b="1" kern="100" dirty="0">
                <a:effectLst/>
                <a:latin typeface="Montserrat" panose="00000500000000000000" pitchFamily="2" charset="0"/>
                <a:ea typeface="Aptos" panose="020B0004020202020204" pitchFamily="34" charset="0"/>
                <a:cs typeface="Times New Roman" panose="02020603050405020304" pitchFamily="18" charset="0"/>
              </a:rPr>
              <a:t>Rahoitusta pyritään kasvattamaan ja monipuolistamaan</a:t>
            </a:r>
            <a:r>
              <a:rPr lang="fi-FI" sz="1700" b="1" kern="100" dirty="0">
                <a:effectLst/>
                <a:latin typeface="Montserrat" panose="00000500000000000000" pitchFamily="2" charset="0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  <a:r>
              <a:rPr lang="fi-FI" sz="1700" kern="100" dirty="0">
                <a:effectLst/>
                <a:latin typeface="Montserrat" panose="00000500000000000000" pitchFamily="2" charset="0"/>
                <a:ea typeface="Aptos" panose="020B0004020202020204" pitchFamily="34" charset="0"/>
                <a:cs typeface="Arial" panose="020B0604020202020204" pitchFamily="34" charset="0"/>
              </a:rPr>
              <a:t>niin, että vastuuta varainhankinnasta laajennetaan koko org</a:t>
            </a:r>
            <a:r>
              <a:rPr lang="fi-FI" sz="1800" kern="100" dirty="0">
                <a:effectLst/>
                <a:latin typeface="Montserrat" panose="00000500000000000000" pitchFamily="2" charset="0"/>
                <a:ea typeface="Aptos" panose="020B0004020202020204" pitchFamily="34" charset="0"/>
                <a:cs typeface="Arial" panose="020B0604020202020204" pitchFamily="34" charset="0"/>
              </a:rPr>
              <a:t>anisaatio</a:t>
            </a:r>
            <a:r>
              <a:rPr lang="fi-FI" sz="1700" kern="100" dirty="0">
                <a:effectLst/>
                <a:latin typeface="Montserrat" panose="00000500000000000000" pitchFamily="2" charset="0"/>
                <a:ea typeface="Aptos" panose="020B0004020202020204" pitchFamily="34" charset="0"/>
                <a:cs typeface="Arial" panose="020B0604020202020204" pitchFamily="34" charset="0"/>
              </a:rPr>
              <a:t>n vastuulle.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fi-FI" sz="1700" kern="100" dirty="0">
                <a:latin typeface="Montserrat"/>
                <a:ea typeface="Aptos" panose="020B0004020202020204" pitchFamily="34" charset="0"/>
                <a:cs typeface="Arial"/>
              </a:rPr>
              <a:t>Selkeämmin</a:t>
            </a:r>
            <a:r>
              <a:rPr lang="fi-FI" sz="1700" kern="100" dirty="0">
                <a:effectLst/>
                <a:latin typeface="Montserrat"/>
                <a:ea typeface="Aptos" panose="020B0004020202020204" pitchFamily="34" charset="0"/>
                <a:cs typeface="Arial"/>
              </a:rPr>
              <a:t> </a:t>
            </a:r>
            <a:r>
              <a:rPr lang="fi-FI" sz="1700" kern="100" dirty="0">
                <a:latin typeface="Montserrat"/>
                <a:ea typeface="Aptos" panose="020B0004020202020204" pitchFamily="34" charset="0"/>
                <a:cs typeface="Arial"/>
              </a:rPr>
              <a:t>osana</a:t>
            </a:r>
            <a:r>
              <a:rPr lang="fi-FI" sz="1700" kern="100" dirty="0">
                <a:effectLst/>
                <a:latin typeface="Montserrat"/>
                <a:ea typeface="Aptos" panose="020B0004020202020204" pitchFamily="34" charset="0"/>
                <a:cs typeface="Arial"/>
              </a:rPr>
              <a:t> kansainvälistä, </a:t>
            </a:r>
            <a:r>
              <a:rPr lang="fi-FI" sz="1700" b="1" kern="100" dirty="0">
                <a:effectLst/>
                <a:latin typeface="Montserrat"/>
                <a:ea typeface="Aptos" panose="020B0004020202020204" pitchFamily="34" charset="0"/>
                <a:cs typeface="Arial"/>
              </a:rPr>
              <a:t>ekumeenista toimijoiden verkostoa</a:t>
            </a:r>
          </a:p>
          <a:p>
            <a:pPr marL="342900" indent="-342900">
              <a:buFont typeface="Symbol" panose="05050102010706020507" pitchFamily="18" charset="2"/>
              <a:buChar char=""/>
            </a:pPr>
            <a:r>
              <a:rPr lang="fi-FI" sz="1700" b="1" kern="100" dirty="0">
                <a:latin typeface="Montserrat"/>
                <a:ea typeface="Aptos" panose="020B0004020202020204" pitchFamily="34" charset="0"/>
                <a:cs typeface="Arial"/>
              </a:rPr>
              <a:t>Kumppanien tahto ja tarpeet</a:t>
            </a:r>
            <a:r>
              <a:rPr lang="fi-FI" sz="1700" kern="100" dirty="0">
                <a:latin typeface="Montserrat"/>
                <a:ea typeface="Aptos" panose="020B0004020202020204" pitchFamily="34" charset="0"/>
                <a:cs typeface="Arial"/>
              </a:rPr>
              <a:t> aiempaa vahvemmin yhteistyösuhteen lähtökohtina </a:t>
            </a:r>
            <a:endParaRPr lang="fi-FI" sz="1700" kern="100" dirty="0">
              <a:effectLst/>
              <a:latin typeface="Montserrat" panose="00000500000000000000" pitchFamily="2" charset="0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Kuva 3" descr="Kuva, joka sisältää kohteen symboli, teksti, logo, Fontti&#10;&#10;Kuvaus luotu automaattisesti">
            <a:extLst>
              <a:ext uri="{FF2B5EF4-FFF2-40B4-BE49-F238E27FC236}">
                <a16:creationId xmlns:a16="http://schemas.microsoft.com/office/drawing/2014/main" id="{1AB3DFD9-9CB9-68F2-45F4-1A26BB79E1E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9686" y="5139178"/>
            <a:ext cx="2431153" cy="1718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5162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ema">
  <a:themeElements>
    <a:clrScheme name="Mukautetut 1">
      <a:dk1>
        <a:srgbClr val="0C0C0C"/>
      </a:dk1>
      <a:lt1>
        <a:srgbClr val="FFFFFF"/>
      </a:lt1>
      <a:dk2>
        <a:srgbClr val="F53246"/>
      </a:dk2>
      <a:lt2>
        <a:srgbClr val="E7E6E6"/>
      </a:lt2>
      <a:accent1>
        <a:srgbClr val="F53246"/>
      </a:accent1>
      <a:accent2>
        <a:srgbClr val="90397B"/>
      </a:accent2>
      <a:accent3>
        <a:srgbClr val="1179A6"/>
      </a:accent3>
      <a:accent4>
        <a:srgbClr val="93CB81"/>
      </a:accent4>
      <a:accent5>
        <a:srgbClr val="F3DF0E"/>
      </a:accent5>
      <a:accent6>
        <a:srgbClr val="FBAFB6"/>
      </a:accent6>
      <a:hlink>
        <a:srgbClr val="0C5272"/>
      </a:hlink>
      <a:folHlink>
        <a:srgbClr val="FBAFB6"/>
      </a:folHlink>
    </a:clrScheme>
    <a:fontScheme name="Mukautettu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ähetysseura_16-9_FIN_pohja (2).pptx" id="{50E836D4-9807-4953-9181-4559616194B0}" vid="{ECC2E6CA-AF7A-4740-90BD-D6A2E8B06D83}"/>
    </a:ext>
  </a:extLst>
</a:theme>
</file>

<file path=ppt/theme/theme2.xml><?xml version="1.0" encoding="utf-8"?>
<a:theme xmlns:a="http://schemas.openxmlformats.org/drawingml/2006/main" name="1_Office-te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FE59384143BF0944A5DEDF36AB6A34A3" ma:contentTypeVersion="0" ma:contentTypeDescription="Luo uusi asiakirja." ma:contentTypeScope="" ma:versionID="9796506ee53a63e460b88b561858d143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0086773a436e3bade627b2b0cc309879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9BAB2BE-051A-427B-A4C9-FFC3CF231971}"/>
</file>

<file path=customXml/itemProps2.xml><?xml version="1.0" encoding="utf-8"?>
<ds:datastoreItem xmlns:ds="http://schemas.openxmlformats.org/officeDocument/2006/customXml" ds:itemID="{36E9CE06-AD04-4DB0-9094-83B30F553E25}"/>
</file>

<file path=customXml/itemProps3.xml><?xml version="1.0" encoding="utf-8"?>
<ds:datastoreItem xmlns:ds="http://schemas.openxmlformats.org/officeDocument/2006/customXml" ds:itemID="{E2556B7F-641A-40AF-9CFC-B2B7A66DF58E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</TotalTime>
  <Words>470</Words>
  <Application>Microsoft Office PowerPoint</Application>
  <PresentationFormat>Laajakuva</PresentationFormat>
  <Paragraphs>68</Paragraphs>
  <Slides>12</Slides>
  <Notes>1</Notes>
  <HiddenSlides>0</HiddenSlides>
  <MMClips>0</MMClips>
  <ScaleCrop>false</ScaleCrop>
  <HeadingPairs>
    <vt:vector size="8" baseType="variant">
      <vt:variant>
        <vt:lpstr>Käytetyt fontit</vt:lpstr>
      </vt:variant>
      <vt:variant>
        <vt:i4>6</vt:i4>
      </vt:variant>
      <vt:variant>
        <vt:lpstr>Teema</vt:lpstr>
      </vt:variant>
      <vt:variant>
        <vt:i4>2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12</vt:i4>
      </vt:variant>
    </vt:vector>
  </HeadingPairs>
  <TitlesOfParts>
    <vt:vector size="21" baseType="lpstr">
      <vt:lpstr>Aptos</vt:lpstr>
      <vt:lpstr>Aptos Display</vt:lpstr>
      <vt:lpstr>Arial</vt:lpstr>
      <vt:lpstr>Calibri</vt:lpstr>
      <vt:lpstr>Montserrat</vt:lpstr>
      <vt:lpstr>Symbol</vt:lpstr>
      <vt:lpstr>Office-teema</vt:lpstr>
      <vt:lpstr>1_Office-teema</vt:lpstr>
      <vt:lpstr>think-cell Slide</vt:lpstr>
      <vt:lpstr>Lähetysseuran strategia</vt:lpstr>
      <vt:lpstr>Lähetysseuran tehtävä</vt:lpstr>
      <vt:lpstr>PowerPoint-esitys</vt:lpstr>
      <vt:lpstr>PowerPoint-esitys</vt:lpstr>
      <vt:lpstr>PowerPoint-esitys</vt:lpstr>
      <vt:lpstr>PowerPoint-esitys</vt:lpstr>
      <vt:lpstr>Suomen Lähetysseuran strategia</vt:lpstr>
      <vt:lpstr>Mikä muuttuu?</vt:lpstr>
      <vt:lpstr>Mikä muuttuu?</vt:lpstr>
      <vt:lpstr>Miten pääsemme tavoitteisiimme?</vt:lpstr>
      <vt:lpstr>Strategiset kehityshankkeet</vt:lpstr>
      <vt:lpstr>PowerPoint-esity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Ylhävuori Tarmo</dc:creator>
  <cp:lastModifiedBy>Häkli Laura</cp:lastModifiedBy>
  <cp:revision>3</cp:revision>
  <dcterms:created xsi:type="dcterms:W3CDTF">2022-08-23T09:26:18Z</dcterms:created>
  <dcterms:modified xsi:type="dcterms:W3CDTF">2025-01-24T13:16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E59384143BF0944A5DEDF36AB6A34A3</vt:lpwstr>
  </property>
</Properties>
</file>